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8" r:id="rId2"/>
    <p:sldId id="272" r:id="rId3"/>
    <p:sldId id="282" r:id="rId4"/>
    <p:sldId id="283" r:id="rId5"/>
    <p:sldId id="274" r:id="rId6"/>
    <p:sldId id="275" r:id="rId7"/>
    <p:sldId id="276" r:id="rId8"/>
    <p:sldId id="277" r:id="rId9"/>
    <p:sldId id="281" r:id="rId10"/>
    <p:sldId id="285" r:id="rId11"/>
    <p:sldId id="288" r:id="rId12"/>
    <p:sldId id="278" r:id="rId13"/>
    <p:sldId id="279" r:id="rId14"/>
    <p:sldId id="287" r:id="rId15"/>
    <p:sldId id="280" r:id="rId16"/>
    <p:sldId id="284" r:id="rId17"/>
    <p:sldId id="286" r:id="rId18"/>
    <p:sldId id="289" r:id="rId19"/>
  </p:sldIdLst>
  <p:sldSz cx="12192000" cy="6858000"/>
  <p:notesSz cx="6799263" cy="9929813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272"/>
            <p14:sldId id="282"/>
            <p14:sldId id="283"/>
            <p14:sldId id="274"/>
            <p14:sldId id="275"/>
            <p14:sldId id="276"/>
            <p14:sldId id="277"/>
            <p14:sldId id="281"/>
            <p14:sldId id="285"/>
            <p14:sldId id="288"/>
            <p14:sldId id="278"/>
            <p14:sldId id="279"/>
            <p14:sldId id="287"/>
            <p14:sldId id="280"/>
            <p14:sldId id="284"/>
            <p14:sldId id="286"/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Shouran Mu" initials="SM" lastIdx="1" clrIdx="1">
    <p:extLst>
      <p:ext uri="{19B8F6BF-5375-455C-9EA6-DF929625EA0E}">
        <p15:presenceInfo xmlns:p15="http://schemas.microsoft.com/office/powerpoint/2012/main" userId="856001256d5d3de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008877"/>
    <a:srgbClr val="00CCB4"/>
    <a:srgbClr val="00F6D9"/>
    <a:srgbClr val="00689D"/>
    <a:srgbClr val="B90F22"/>
    <a:srgbClr val="C7E1FF"/>
    <a:srgbClr val="FFF7A7"/>
    <a:srgbClr val="53B5FF"/>
    <a:srgbClr val="005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97" autoAdjust="0"/>
    <p:restoredTop sz="93979" autoAdjust="0"/>
  </p:normalViewPr>
  <p:slideViewPr>
    <p:cSldViewPr snapToObjects="1">
      <p:cViewPr varScale="1">
        <p:scale>
          <a:sx n="109" d="100"/>
          <a:sy n="109" d="100"/>
        </p:scale>
        <p:origin x="109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76" d="100"/>
          <a:sy n="76" d="100"/>
        </p:scale>
        <p:origin x="410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0ADBF01-C3FF-4E1B-BBA0-DFB6AD6D3E08}" type="datetime4">
              <a:rPr lang="de-DE" smtClean="0"/>
              <a:t>16. Mai 2019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 dirty="0"/>
              <a:t>S</a:t>
            </a:r>
            <a:r>
              <a:rPr lang="de-DE" altLang="zh-CN" dirty="0"/>
              <a:t>houran Mu</a:t>
            </a:r>
            <a:endParaRPr lang="de-DE" dirty="0"/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5E00AFE4-C7CA-450B-9190-D65874FB2B3D}" type="datetime4">
              <a:rPr lang="de-DE" smtClean="0"/>
              <a:t>16. Mai 2019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aaa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D388847-FCE5-44AF-92B0-84E13B932BD1}" type="datetime4">
              <a:rPr lang="de-DE" smtClean="0">
                <a:latin typeface="Stafford" pitchFamily="2" charset="0"/>
              </a:rPr>
              <a:t>16. Mai 2019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>
                <a:latin typeface="Stafford" pitchFamily="2" charset="0"/>
              </a:rPr>
              <a:t>|  aaa</a:t>
            </a:r>
            <a:endParaRPr lang="en-US" dirty="0">
              <a:latin typeface="Stafford" pitchFamily="2" charset="0"/>
            </a:endParaRP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003300"/>
            <a:ext cx="5929313" cy="33353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C48CFB3-8026-407E-B369-5BFB00E79C45}" type="datetime4">
              <a:rPr lang="de-DE" smtClean="0"/>
              <a:t>16. Mai 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 aaa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|  </a:t>
            </a:r>
            <a:fld id="{C36AA9A4-5D0B-4134-89A6-D8B9DAA4F25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468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4" y="404664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4" y="196851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4" y="360364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4" y="2493814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1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F3F8CF-62C2-4207-8187-41298B94AF0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.05.2019</a:t>
            </a:fld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| TU Darmstadt | Energy Information Networks &amp; Systems | Shouran Mu | </a:t>
            </a: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9120" y="6405404"/>
            <a:ext cx="677520" cy="486318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10025207" y="590794"/>
            <a:ext cx="1835999" cy="1716890"/>
            <a:chOff x="7504276" y="657224"/>
            <a:chExt cx="1377000" cy="1716890"/>
          </a:xfrm>
        </p:grpSpPr>
        <p:pic>
          <p:nvPicPr>
            <p:cNvPr id="87049" name="Picture 9" descr="tud_logo"/>
            <p:cNvPicPr>
              <a:picLocks noChangeAspect="1" noChangeArrowheads="1"/>
            </p:cNvPicPr>
            <p:nvPr/>
          </p:nvPicPr>
          <p:blipFill>
            <a:blip r:embed="rId3" cstate="print"/>
            <a:srcRect r="5453"/>
            <a:stretch>
              <a:fillRect/>
            </a:stretch>
          </p:blipFill>
          <p:spPr bwMode="auto">
            <a:xfrm>
              <a:off x="7504276" y="657224"/>
              <a:ext cx="1377000" cy="777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" name="Gruppieren 1"/>
            <p:cNvGrpSpPr/>
            <p:nvPr userDrawn="1"/>
          </p:nvGrpSpPr>
          <p:grpSpPr>
            <a:xfrm>
              <a:off x="7504276" y="1596514"/>
              <a:ext cx="1377000" cy="777600"/>
              <a:chOff x="7504276" y="1596514"/>
              <a:chExt cx="1377000" cy="777600"/>
            </a:xfrm>
          </p:grpSpPr>
          <p:sp>
            <p:nvSpPr>
              <p:cNvPr id="17" name="Rechteck 16"/>
              <p:cNvSpPr/>
              <p:nvPr userDrawn="1"/>
            </p:nvSpPr>
            <p:spPr bwMode="auto">
              <a:xfrm>
                <a:off x="7504276" y="1596514"/>
                <a:ext cx="1377000" cy="7776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295116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Charter" pitchFamily="2" charset="0"/>
                  <a:cs typeface="Arial" charset="0"/>
                </a:endParaRPr>
              </a:p>
            </p:txBody>
          </p:sp>
          <p:pic>
            <p:nvPicPr>
              <p:cNvPr id="18" name="Picture 182"/>
              <p:cNvPicPr>
                <a:picLocks noChangeAspect="1" noChangeArrowheads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593737" y="1725472"/>
                <a:ext cx="1198079" cy="5196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0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5" y="4406901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7" y="1592264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2" y="1592264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5" y="1412875"/>
            <a:ext cx="10943167" cy="4924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4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0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4" y="196851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10126091" y="512763"/>
            <a:ext cx="1874565" cy="793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4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4" y="366714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/>
        </p:nvSpPr>
        <p:spPr>
          <a:xfrm>
            <a:off x="336551" y="6489701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FF09E4-0021-4FBC-9E08-C393EFCF99F1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.05.2019</a:t>
            </a:fld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| TU Darmstadt | Energy Information Networks &amp; Systems | Shouran Mu | </a:t>
            </a: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9120" y="6405404"/>
            <a:ext cx="677520" cy="48631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" Target="slide5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" Target="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46" b="7288"/>
          <a:stretch/>
        </p:blipFill>
        <p:spPr>
          <a:xfrm>
            <a:off x="1775520" y="2564904"/>
            <a:ext cx="8640960" cy="3672408"/>
          </a:xfrm>
          <a:prstGeom prst="rect">
            <a:avLst/>
          </a:prstGeom>
        </p:spPr>
      </p:pic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600" b="0" dirty="0"/>
              <a:t>Shouran Mu</a:t>
            </a:r>
          </a:p>
          <a:p>
            <a:r>
              <a:rPr lang="en-US" sz="1600" b="0" dirty="0"/>
              <a:t>supervised by Edwin M</a:t>
            </a:r>
            <a:r>
              <a:rPr lang="de-DE" altLang="zh-CN" sz="1600" b="0" dirty="0"/>
              <a:t>ora</a:t>
            </a:r>
            <a:endParaRPr lang="en-US" sz="1600" b="0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GUI for a Microgrid’s Control System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6525C7-8B2E-4334-B61E-B4ACB42EE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– Service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190BD0C-C186-455D-B5CE-A26EA5F722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542" y="1700808"/>
            <a:ext cx="4439823" cy="3762403"/>
          </a:xfrm>
          <a:prstGeom prst="rect">
            <a:avLst/>
          </a:prstGeom>
        </p:spPr>
      </p:pic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8E84090A-9588-4933-AD2F-A3356D96486D}"/>
              </a:ext>
            </a:extLst>
          </p:cNvPr>
          <p:cNvCxnSpPr/>
          <p:nvPr/>
        </p:nvCxnSpPr>
        <p:spPr>
          <a:xfrm flipV="1">
            <a:off x="5367950" y="2008406"/>
            <a:ext cx="1008112" cy="360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626FEC33-09FE-403F-B4A8-ACD83A76E2EC}"/>
              </a:ext>
            </a:extLst>
          </p:cNvPr>
          <p:cNvSpPr txBox="1"/>
          <p:nvPr/>
        </p:nvSpPr>
        <p:spPr>
          <a:xfrm>
            <a:off x="6423668" y="1760739"/>
            <a:ext cx="2184641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Read value by specified namespace and node id</a:t>
            </a: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6EE5FE98-6949-4475-A84E-0C3ABBDC6ACA}"/>
              </a:ext>
            </a:extLst>
          </p:cNvPr>
          <p:cNvCxnSpPr>
            <a:cxnSpLocks/>
          </p:cNvCxnSpPr>
          <p:nvPr/>
        </p:nvCxnSpPr>
        <p:spPr>
          <a:xfrm flipV="1">
            <a:off x="5872006" y="3690811"/>
            <a:ext cx="504056" cy="189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3A511550-5902-4195-8699-ECB2228B7C73}"/>
              </a:ext>
            </a:extLst>
          </p:cNvPr>
          <p:cNvSpPr txBox="1"/>
          <p:nvPr/>
        </p:nvSpPr>
        <p:spPr>
          <a:xfrm>
            <a:off x="6440100" y="3258843"/>
            <a:ext cx="2744274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Pack and send updated value to server OP4510 in UDP packet for simulation</a:t>
            </a: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73BEA16A-6144-4B91-A708-5D35EAE894D4}"/>
              </a:ext>
            </a:extLst>
          </p:cNvPr>
          <p:cNvCxnSpPr>
            <a:cxnSpLocks/>
          </p:cNvCxnSpPr>
          <p:nvPr/>
        </p:nvCxnSpPr>
        <p:spPr>
          <a:xfrm>
            <a:off x="5223934" y="4698923"/>
            <a:ext cx="1199735" cy="3491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56918C52-EA14-4D51-93DF-E036762E0DDE}"/>
              </a:ext>
            </a:extLst>
          </p:cNvPr>
          <p:cNvSpPr txBox="1"/>
          <p:nvPr/>
        </p:nvSpPr>
        <p:spPr>
          <a:xfrm>
            <a:off x="6520078" y="4817283"/>
            <a:ext cx="2744274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Receive simulation results from server OP4510</a:t>
            </a:r>
          </a:p>
        </p:txBody>
      </p:sp>
    </p:spTree>
    <p:extLst>
      <p:ext uri="{BB962C8B-B14F-4D97-AF65-F5344CB8AC3E}">
        <p14:creationId xmlns:p14="http://schemas.microsoft.com/office/powerpoint/2010/main" val="15316285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718EEE-48EB-4FA3-BA5B-000473C4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– Service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5C96877-1C60-4371-8A41-91867B6D8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2024" y="1156562"/>
            <a:ext cx="3575726" cy="5176875"/>
          </a:xfrm>
          <a:prstGeom prst="rect">
            <a:avLst/>
          </a:prstGeom>
        </p:spPr>
      </p:pic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BD841D9E-BA25-4F85-AE48-2D94981029ED}"/>
              </a:ext>
            </a:extLst>
          </p:cNvPr>
          <p:cNvCxnSpPr/>
          <p:nvPr/>
        </p:nvCxnSpPr>
        <p:spPr>
          <a:xfrm flipH="1" flipV="1">
            <a:off x="4906445" y="2132856"/>
            <a:ext cx="1549595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A54D0A2F-4E35-4277-8D83-238FB9FAE2B7}"/>
              </a:ext>
            </a:extLst>
          </p:cNvPr>
          <p:cNvSpPr txBox="1"/>
          <p:nvPr/>
        </p:nvSpPr>
        <p:spPr>
          <a:xfrm>
            <a:off x="2304250" y="1772816"/>
            <a:ext cx="2567614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dk1"/>
                </a:solidFill>
                <a:latin typeface="+mn-lt"/>
              </a:rPr>
              <a:t>Unpack and prepare the values for building parameters</a:t>
            </a: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F0B2B246-5A3A-44E8-91C2-A9900060151C}"/>
              </a:ext>
            </a:extLst>
          </p:cNvPr>
          <p:cNvCxnSpPr/>
          <p:nvPr/>
        </p:nvCxnSpPr>
        <p:spPr>
          <a:xfrm flipH="1">
            <a:off x="5159896" y="3429000"/>
            <a:ext cx="12961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8B481B9B-DC2F-46D0-9ECD-4E9F46BB353E}"/>
              </a:ext>
            </a:extLst>
          </p:cNvPr>
          <p:cNvSpPr txBox="1"/>
          <p:nvPr/>
        </p:nvSpPr>
        <p:spPr>
          <a:xfrm>
            <a:off x="2495600" y="3148719"/>
            <a:ext cx="2592288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dk1"/>
                </a:solidFill>
                <a:latin typeface="+mn-lt"/>
              </a:rPr>
              <a:t>Insert some constant values (which are not provided by RT server) to build parameters list</a:t>
            </a:r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F28B0CE0-11DF-4818-949D-145D54F27F72}"/>
              </a:ext>
            </a:extLst>
          </p:cNvPr>
          <p:cNvCxnSpPr/>
          <p:nvPr/>
        </p:nvCxnSpPr>
        <p:spPr>
          <a:xfrm flipH="1">
            <a:off x="5375920" y="5229200"/>
            <a:ext cx="122413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90E0EB2C-C2C3-4CFA-AFDB-CF2CBD1ACB02}"/>
              </a:ext>
            </a:extLst>
          </p:cNvPr>
          <p:cNvSpPr txBox="1"/>
          <p:nvPr/>
        </p:nvSpPr>
        <p:spPr>
          <a:xfrm>
            <a:off x="1847528" y="4941168"/>
            <a:ext cx="3496587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dk1"/>
                </a:solidFill>
                <a:latin typeface="+mn-lt"/>
              </a:rPr>
              <a:t>Set complete parameters list to LabVIEW to display on each control panel</a:t>
            </a:r>
          </a:p>
        </p:txBody>
      </p:sp>
    </p:spTree>
    <p:extLst>
      <p:ext uri="{BB962C8B-B14F-4D97-AF65-F5344CB8AC3E}">
        <p14:creationId xmlns:p14="http://schemas.microsoft.com/office/powerpoint/2010/main" val="40922550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A273B7-6989-40C3-A584-4F510AB9D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/>
          <a:lstStyle/>
          <a:p>
            <a:r>
              <a:rPr lang="de-DE" dirty="0"/>
              <a:t>Implementation - LabView Project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CEA3CCE-3B92-4BCB-AF28-CD2BD03EF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451" y="1549020"/>
            <a:ext cx="3240360" cy="4622611"/>
          </a:xfrm>
          <a:prstGeom prst="rect">
            <a:avLst/>
          </a:prstGeom>
        </p:spPr>
      </p:pic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54E81038-4771-4886-AA38-7E456FCAC36C}"/>
              </a:ext>
            </a:extLst>
          </p:cNvPr>
          <p:cNvCxnSpPr/>
          <p:nvPr/>
        </p:nvCxnSpPr>
        <p:spPr>
          <a:xfrm flipV="1">
            <a:off x="3359696" y="4370966"/>
            <a:ext cx="252028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D35CE81B-E227-4C3C-A217-623630A28BBB}"/>
              </a:ext>
            </a:extLst>
          </p:cNvPr>
          <p:cNvSpPr txBox="1"/>
          <p:nvPr/>
        </p:nvSpPr>
        <p:spPr>
          <a:xfrm>
            <a:off x="5929002" y="4154943"/>
            <a:ext cx="1674187" cy="30777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Main control panel</a:t>
            </a: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4A2C25C4-1EF4-4F6E-A3E7-0167A4F0E663}"/>
              </a:ext>
            </a:extLst>
          </p:cNvPr>
          <p:cNvCxnSpPr/>
          <p:nvPr/>
        </p:nvCxnSpPr>
        <p:spPr>
          <a:xfrm flipV="1">
            <a:off x="2783632" y="2282734"/>
            <a:ext cx="2520280" cy="1368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698C2D06-81B8-4640-AB56-7B502EEDC736}"/>
              </a:ext>
            </a:extLst>
          </p:cNvPr>
          <p:cNvSpPr txBox="1"/>
          <p:nvPr/>
        </p:nvSpPr>
        <p:spPr>
          <a:xfrm>
            <a:off x="5303911" y="1797645"/>
            <a:ext cx="2034227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Self designed control button</a:t>
            </a:r>
          </a:p>
        </p:txBody>
      </p: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6B81D054-94F1-475C-8E14-21302163EC45}"/>
              </a:ext>
            </a:extLst>
          </p:cNvPr>
          <p:cNvCxnSpPr/>
          <p:nvPr/>
        </p:nvCxnSpPr>
        <p:spPr>
          <a:xfrm flipV="1">
            <a:off x="2783632" y="3218838"/>
            <a:ext cx="2952328" cy="6414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9107EFA5-5D3F-492D-A843-2A7EE29769D6}"/>
              </a:ext>
            </a:extLst>
          </p:cNvPr>
          <p:cNvSpPr txBox="1"/>
          <p:nvPr/>
        </p:nvSpPr>
        <p:spPr>
          <a:xfrm>
            <a:off x="5733630" y="2757173"/>
            <a:ext cx="2160240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Sub control panel to show more detailed Info for each device</a:t>
            </a:r>
          </a:p>
        </p:txBody>
      </p:sp>
      <p:sp>
        <p:nvSpPr>
          <p:cNvPr id="14" name="右大括号 13">
            <a:extLst>
              <a:ext uri="{FF2B5EF4-FFF2-40B4-BE49-F238E27FC236}">
                <a16:creationId xmlns:a16="http://schemas.microsoft.com/office/drawing/2014/main" id="{72356DB9-6FF0-42D6-A161-3E9083383616}"/>
              </a:ext>
            </a:extLst>
          </p:cNvPr>
          <p:cNvSpPr/>
          <p:nvPr/>
        </p:nvSpPr>
        <p:spPr>
          <a:xfrm>
            <a:off x="3143672" y="4803014"/>
            <a:ext cx="72008" cy="21602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B95B726B-1AE3-41AA-AE83-6E4CE843BEF4}"/>
              </a:ext>
            </a:extLst>
          </p:cNvPr>
          <p:cNvCxnSpPr/>
          <p:nvPr/>
        </p:nvCxnSpPr>
        <p:spPr>
          <a:xfrm>
            <a:off x="3359696" y="4947030"/>
            <a:ext cx="2592288" cy="497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0665E90C-3446-464F-8273-BA79C53F4857}"/>
              </a:ext>
            </a:extLst>
          </p:cNvPr>
          <p:cNvSpPr txBox="1"/>
          <p:nvPr/>
        </p:nvSpPr>
        <p:spPr>
          <a:xfrm>
            <a:off x="6059998" y="5208270"/>
            <a:ext cx="1980218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Used for OPC UA communication test</a:t>
            </a:r>
          </a:p>
        </p:txBody>
      </p:sp>
    </p:spTree>
    <p:extLst>
      <p:ext uri="{BB962C8B-B14F-4D97-AF65-F5344CB8AC3E}">
        <p14:creationId xmlns:p14="http://schemas.microsoft.com/office/powerpoint/2010/main" val="268156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1477FE-FDDE-4103-A3EB-4FB9D757B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- Main Control Panel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919F5BB-7A57-4B52-8B76-B17A45616B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2132856"/>
            <a:ext cx="6618370" cy="3879734"/>
          </a:xfrm>
          <a:prstGeom prst="rect">
            <a:avLst/>
          </a:prstGeom>
        </p:spPr>
      </p:pic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CD799057-9A6A-498C-BE0C-6919420439A4}"/>
              </a:ext>
            </a:extLst>
          </p:cNvPr>
          <p:cNvCxnSpPr/>
          <p:nvPr/>
        </p:nvCxnSpPr>
        <p:spPr>
          <a:xfrm flipH="1" flipV="1">
            <a:off x="6888088" y="1916832"/>
            <a:ext cx="1080120" cy="12241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E9737795-2264-4FF6-9BE6-191418D32F28}"/>
              </a:ext>
            </a:extLst>
          </p:cNvPr>
          <p:cNvSpPr txBox="1"/>
          <p:nvPr/>
        </p:nvSpPr>
        <p:spPr>
          <a:xfrm>
            <a:off x="4943872" y="1556792"/>
            <a:ext cx="3888432" cy="30777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URL used to connect to OPC server in Pi</a:t>
            </a: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CE3165BC-9204-4803-82D7-2CBF365A2E81}"/>
              </a:ext>
            </a:extLst>
          </p:cNvPr>
          <p:cNvCxnSpPr>
            <a:cxnSpLocks/>
          </p:cNvCxnSpPr>
          <p:nvPr/>
        </p:nvCxnSpPr>
        <p:spPr>
          <a:xfrm flipH="1">
            <a:off x="3935760" y="2710619"/>
            <a:ext cx="2517903" cy="2143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8D0C5782-71DC-4713-B550-04F6B3014BC6}"/>
              </a:ext>
            </a:extLst>
          </p:cNvPr>
          <p:cNvCxnSpPr>
            <a:cxnSpLocks/>
          </p:cNvCxnSpPr>
          <p:nvPr/>
        </p:nvCxnSpPr>
        <p:spPr>
          <a:xfrm flipH="1" flipV="1">
            <a:off x="3935760" y="3429000"/>
            <a:ext cx="3024338" cy="20882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3C19C9D6-EE87-44A8-B1CC-05714B974603}"/>
              </a:ext>
            </a:extLst>
          </p:cNvPr>
          <p:cNvSpPr txBox="1"/>
          <p:nvPr/>
        </p:nvSpPr>
        <p:spPr>
          <a:xfrm>
            <a:off x="1919535" y="2905780"/>
            <a:ext cx="1944216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altLang="zh-CN" sz="1400" dirty="0"/>
              <a:t>Connect the device to microgrid by switch</a:t>
            </a:r>
            <a:endParaRPr lang="de-DE" sz="1400" dirty="0"/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265F46CD-5762-423F-8AC3-57381B43BA0C}"/>
              </a:ext>
            </a:extLst>
          </p:cNvPr>
          <p:cNvCxnSpPr/>
          <p:nvPr/>
        </p:nvCxnSpPr>
        <p:spPr>
          <a:xfrm flipH="1">
            <a:off x="3503712" y="2710619"/>
            <a:ext cx="3456386" cy="1654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E9D03B17-F3B9-4A11-9F69-F0F6D66A3F7A}"/>
              </a:ext>
            </a:extLst>
          </p:cNvPr>
          <p:cNvCxnSpPr>
            <a:cxnSpLocks/>
          </p:cNvCxnSpPr>
          <p:nvPr/>
        </p:nvCxnSpPr>
        <p:spPr>
          <a:xfrm flipH="1" flipV="1">
            <a:off x="3503712" y="4719598"/>
            <a:ext cx="3456386" cy="2738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F5AEEB27-3940-462F-9731-C90C223BA078}"/>
              </a:ext>
            </a:extLst>
          </p:cNvPr>
          <p:cNvSpPr txBox="1"/>
          <p:nvPr/>
        </p:nvSpPr>
        <p:spPr>
          <a:xfrm>
            <a:off x="1559496" y="4293096"/>
            <a:ext cx="1944216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Image button to open sub control panel </a:t>
            </a:r>
          </a:p>
        </p:txBody>
      </p:sp>
    </p:spTree>
    <p:extLst>
      <p:ext uri="{BB962C8B-B14F-4D97-AF65-F5344CB8AC3E}">
        <p14:creationId xmlns:p14="http://schemas.microsoft.com/office/powerpoint/2010/main" val="4271551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1477FE-FDDE-4103-A3EB-4FB9D757B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- Main Control Panel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FA58FD3-A8FF-48C0-9ABE-76E2A224A9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2068596"/>
            <a:ext cx="6739350" cy="3954645"/>
          </a:xfrm>
          <a:prstGeom prst="rect">
            <a:avLst/>
          </a:prstGeom>
        </p:spPr>
      </p:pic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0E69537F-D7E6-4207-B280-9AA007CC0379}"/>
              </a:ext>
            </a:extLst>
          </p:cNvPr>
          <p:cNvCxnSpPr/>
          <p:nvPr/>
        </p:nvCxnSpPr>
        <p:spPr>
          <a:xfrm flipH="1" flipV="1">
            <a:off x="4079776" y="2780928"/>
            <a:ext cx="2232248" cy="864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7A8B1F6F-0F0B-4B38-9FDE-1264F028FCE6}"/>
              </a:ext>
            </a:extLst>
          </p:cNvPr>
          <p:cNvCxnSpPr/>
          <p:nvPr/>
        </p:nvCxnSpPr>
        <p:spPr>
          <a:xfrm flipH="1" flipV="1">
            <a:off x="4223792" y="2708920"/>
            <a:ext cx="5110731" cy="14401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4A876773-FC21-4D2C-B372-7F8EA1BE4565}"/>
              </a:ext>
            </a:extLst>
          </p:cNvPr>
          <p:cNvSpPr txBox="1"/>
          <p:nvPr/>
        </p:nvSpPr>
        <p:spPr>
          <a:xfrm>
            <a:off x="1987834" y="2159594"/>
            <a:ext cx="2232248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/>
              <a:t>Energy </a:t>
            </a:r>
            <a:r>
              <a:rPr lang="de-DE" sz="1400" dirty="0"/>
              <a:t>flow animation to show more information dynamiccally</a:t>
            </a:r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800C5496-B4B7-4FBF-89D4-5993ECBF19D2}"/>
              </a:ext>
            </a:extLst>
          </p:cNvPr>
          <p:cNvCxnSpPr/>
          <p:nvPr/>
        </p:nvCxnSpPr>
        <p:spPr>
          <a:xfrm flipH="1" flipV="1">
            <a:off x="3935760" y="4581128"/>
            <a:ext cx="2843397" cy="3600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AC781218-17CA-4D5A-A50D-09A64B1EA655}"/>
              </a:ext>
            </a:extLst>
          </p:cNvPr>
          <p:cNvSpPr txBox="1"/>
          <p:nvPr/>
        </p:nvSpPr>
        <p:spPr>
          <a:xfrm>
            <a:off x="1559496" y="4243837"/>
            <a:ext cx="2304256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Power slide shows </a:t>
            </a:r>
            <a:r>
              <a:rPr lang="en-US" sz="1400" dirty="0"/>
              <a:t>power capacity of the PV device</a:t>
            </a: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56AD9DB7-3961-4906-89BA-CA4DFA521C7F}"/>
              </a:ext>
            </a:extLst>
          </p:cNvPr>
          <p:cNvCxnSpPr/>
          <p:nvPr/>
        </p:nvCxnSpPr>
        <p:spPr>
          <a:xfrm flipH="1">
            <a:off x="3935760" y="2682814"/>
            <a:ext cx="5832648" cy="17542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1242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FA4AAF-566D-49A6-BF6D-00F363E74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- Sub Control Panel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5048540-869E-41A1-AA5E-D24DCFAC50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13" y="1545900"/>
            <a:ext cx="10200456" cy="3896598"/>
          </a:xfrm>
          <a:prstGeom prst="rect">
            <a:avLst/>
          </a:prstGeom>
        </p:spPr>
      </p:pic>
      <p:sp>
        <p:nvSpPr>
          <p:cNvPr id="25" name="箭头: 下弧形 24">
            <a:extLst>
              <a:ext uri="{FF2B5EF4-FFF2-40B4-BE49-F238E27FC236}">
                <a16:creationId xmlns:a16="http://schemas.microsoft.com/office/drawing/2014/main" id="{2B86F8C8-9D7B-4990-812F-64900AC7E14D}"/>
              </a:ext>
            </a:extLst>
          </p:cNvPr>
          <p:cNvSpPr/>
          <p:nvPr/>
        </p:nvSpPr>
        <p:spPr>
          <a:xfrm>
            <a:off x="1487488" y="5085184"/>
            <a:ext cx="6192688" cy="115212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DEEF4F0-688F-40CB-85FE-6D7AB40B08D1}"/>
              </a:ext>
            </a:extLst>
          </p:cNvPr>
          <p:cNvSpPr txBox="1"/>
          <p:nvPr/>
        </p:nvSpPr>
        <p:spPr>
          <a:xfrm>
            <a:off x="3215680" y="5291916"/>
            <a:ext cx="2664296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Parameters changed in control panel will </a:t>
            </a:r>
            <a:r>
              <a:rPr lang="en-US" sz="1400" dirty="0"/>
              <a:t>be sent to RT server online (or in real-time)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2011937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B25C5280-1B51-4A60-B4DB-27FC75EBFDC1}"/>
              </a:ext>
            </a:extLst>
          </p:cNvPr>
          <p:cNvSpPr txBox="1">
            <a:spLocks/>
          </p:cNvSpPr>
          <p:nvPr/>
        </p:nvSpPr>
        <p:spPr bwMode="auto">
          <a:xfrm>
            <a:off x="335360" y="446692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ea typeface="+mj-ea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kern="0" dirty="0"/>
              <a:t>Implementation - Example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82447608-9D16-4CE6-9ADB-55065363FF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1628799"/>
            <a:ext cx="7429554" cy="1076333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6DA78C41-550C-4B36-B25E-3FA5055944DC}"/>
              </a:ext>
            </a:extLst>
          </p:cNvPr>
          <p:cNvSpPr txBox="1"/>
          <p:nvPr/>
        </p:nvSpPr>
        <p:spPr>
          <a:xfrm>
            <a:off x="7176122" y="3027647"/>
            <a:ext cx="2749034" cy="5232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dirty="0"/>
              <a:t>Changed value will be updated by LabVIEW OPC UA Toolkit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AF9736D5-1113-46AF-BD88-68E4B99E3E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6925" y="4029043"/>
            <a:ext cx="4229131" cy="247652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B6CBAD41-00B5-4F31-ADA3-9B69876C42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0386" y="4323942"/>
            <a:ext cx="8553513" cy="261939"/>
          </a:xfrm>
          <a:prstGeom prst="rect">
            <a:avLst/>
          </a:prstGeom>
        </p:spPr>
      </p:pic>
      <p:sp>
        <p:nvSpPr>
          <p:cNvPr id="23" name="箭头: 圆角右 22">
            <a:extLst>
              <a:ext uri="{FF2B5EF4-FFF2-40B4-BE49-F238E27FC236}">
                <a16:creationId xmlns:a16="http://schemas.microsoft.com/office/drawing/2014/main" id="{928B1B94-8CFD-42E1-812C-90CD6E2EF72E}"/>
              </a:ext>
            </a:extLst>
          </p:cNvPr>
          <p:cNvSpPr/>
          <p:nvPr/>
        </p:nvSpPr>
        <p:spPr>
          <a:xfrm rot="5400000">
            <a:off x="10179920" y="3128794"/>
            <a:ext cx="677498" cy="771487"/>
          </a:xfrm>
          <a:prstGeom prst="bentArrow">
            <a:avLst>
              <a:gd name="adj1" fmla="val 25000"/>
              <a:gd name="adj2" fmla="val 27945"/>
              <a:gd name="adj3" fmla="val 25000"/>
              <a:gd name="adj4" fmla="val 4375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E625E36A-AE20-436D-9143-284544AA18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8248" y="5407896"/>
            <a:ext cx="3429025" cy="757243"/>
          </a:xfrm>
          <a:prstGeom prst="rect">
            <a:avLst/>
          </a:prstGeom>
        </p:spPr>
      </p:pic>
      <p:sp>
        <p:nvSpPr>
          <p:cNvPr id="27" name="文本框 26">
            <a:extLst>
              <a:ext uri="{FF2B5EF4-FFF2-40B4-BE49-F238E27FC236}">
                <a16:creationId xmlns:a16="http://schemas.microsoft.com/office/drawing/2014/main" id="{8DAF5424-0504-4963-BFF4-5D87073635A0}"/>
              </a:ext>
            </a:extLst>
          </p:cNvPr>
          <p:cNvSpPr txBox="1"/>
          <p:nvPr/>
        </p:nvSpPr>
        <p:spPr>
          <a:xfrm>
            <a:off x="4976693" y="5458504"/>
            <a:ext cx="2238613" cy="738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dirty="0"/>
              <a:t>Simulation and sent results with Simulink UDP</a:t>
            </a:r>
          </a:p>
          <a:p>
            <a:r>
              <a:rPr lang="de-DE" sz="1400" dirty="0"/>
              <a:t>Transmission Element</a:t>
            </a: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316DA5E7-4D83-4A3D-8880-1F0815BA1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050" y="3257512"/>
            <a:ext cx="4886361" cy="771531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C415AED9-99EC-4930-B699-C43DD71254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9601" y="4987426"/>
            <a:ext cx="1885964" cy="1223971"/>
          </a:xfrm>
          <a:prstGeom prst="rect">
            <a:avLst/>
          </a:prstGeom>
        </p:spPr>
      </p:pic>
      <p:sp>
        <p:nvSpPr>
          <p:cNvPr id="31" name="箭头: 左 30">
            <a:extLst>
              <a:ext uri="{FF2B5EF4-FFF2-40B4-BE49-F238E27FC236}">
                <a16:creationId xmlns:a16="http://schemas.microsoft.com/office/drawing/2014/main" id="{74503756-A6D5-4AFD-9C93-F56165858F74}"/>
              </a:ext>
            </a:extLst>
          </p:cNvPr>
          <p:cNvSpPr/>
          <p:nvPr/>
        </p:nvSpPr>
        <p:spPr>
          <a:xfrm>
            <a:off x="7396508" y="5581712"/>
            <a:ext cx="553062" cy="358933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n>
                <a:solidFill>
                  <a:srgbClr val="FF0000"/>
                </a:solidFill>
              </a:ln>
              <a:solidFill>
                <a:srgbClr val="FFFF66"/>
              </a:solidFill>
            </a:endParaRPr>
          </a:p>
        </p:txBody>
      </p:sp>
      <p:sp>
        <p:nvSpPr>
          <p:cNvPr id="32" name="流程图: 过程 31">
            <a:extLst>
              <a:ext uri="{FF2B5EF4-FFF2-40B4-BE49-F238E27FC236}">
                <a16:creationId xmlns:a16="http://schemas.microsoft.com/office/drawing/2014/main" id="{117E50EA-858E-49A3-9008-A52C2866E40B}"/>
              </a:ext>
            </a:extLst>
          </p:cNvPr>
          <p:cNvSpPr/>
          <p:nvPr/>
        </p:nvSpPr>
        <p:spPr>
          <a:xfrm>
            <a:off x="4079776" y="1812151"/>
            <a:ext cx="936104" cy="752753"/>
          </a:xfrm>
          <a:prstGeom prst="flowChartProcess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箭头: 上 32">
            <a:extLst>
              <a:ext uri="{FF2B5EF4-FFF2-40B4-BE49-F238E27FC236}">
                <a16:creationId xmlns:a16="http://schemas.microsoft.com/office/drawing/2014/main" id="{46138BF5-7F0B-405F-A554-BEF0337FC800}"/>
              </a:ext>
            </a:extLst>
          </p:cNvPr>
          <p:cNvSpPr/>
          <p:nvPr/>
        </p:nvSpPr>
        <p:spPr>
          <a:xfrm>
            <a:off x="4295800" y="2706724"/>
            <a:ext cx="419318" cy="336356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C7AEC65D-DFB7-4C35-B9B1-8EAFB92A8215}"/>
              </a:ext>
            </a:extLst>
          </p:cNvPr>
          <p:cNvSpPr/>
          <p:nvPr/>
        </p:nvSpPr>
        <p:spPr>
          <a:xfrm>
            <a:off x="7176122" y="1795600"/>
            <a:ext cx="896019" cy="7693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箭头: 下 34">
            <a:extLst>
              <a:ext uri="{FF2B5EF4-FFF2-40B4-BE49-F238E27FC236}">
                <a16:creationId xmlns:a16="http://schemas.microsoft.com/office/drawing/2014/main" id="{CF328BE1-959F-4302-A61F-523DECE8A5B0}"/>
              </a:ext>
            </a:extLst>
          </p:cNvPr>
          <p:cNvSpPr/>
          <p:nvPr/>
        </p:nvSpPr>
        <p:spPr>
          <a:xfrm>
            <a:off x="7396508" y="2674034"/>
            <a:ext cx="499692" cy="25964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箭头: 圆角右 35">
            <a:extLst>
              <a:ext uri="{FF2B5EF4-FFF2-40B4-BE49-F238E27FC236}">
                <a16:creationId xmlns:a16="http://schemas.microsoft.com/office/drawing/2014/main" id="{507A474E-5E28-4D08-A86E-2FD03A870769}"/>
              </a:ext>
            </a:extLst>
          </p:cNvPr>
          <p:cNvSpPr/>
          <p:nvPr/>
        </p:nvSpPr>
        <p:spPr>
          <a:xfrm rot="16200000">
            <a:off x="567957" y="4298526"/>
            <a:ext cx="1158223" cy="1209054"/>
          </a:xfrm>
          <a:prstGeom prst="bentArrow">
            <a:avLst>
              <a:gd name="adj1" fmla="val 15589"/>
              <a:gd name="adj2" fmla="val 25000"/>
              <a:gd name="adj3" fmla="val 25000"/>
              <a:gd name="adj4" fmla="val 4375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箭头: 左 36">
            <a:extLst>
              <a:ext uri="{FF2B5EF4-FFF2-40B4-BE49-F238E27FC236}">
                <a16:creationId xmlns:a16="http://schemas.microsoft.com/office/drawing/2014/main" id="{689928CE-6EC7-49F1-B9D4-1298D26E8E10}"/>
              </a:ext>
            </a:extLst>
          </p:cNvPr>
          <p:cNvSpPr/>
          <p:nvPr/>
        </p:nvSpPr>
        <p:spPr>
          <a:xfrm>
            <a:off x="4170826" y="5606272"/>
            <a:ext cx="560197" cy="345211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箭头: 下 37">
            <a:extLst>
              <a:ext uri="{FF2B5EF4-FFF2-40B4-BE49-F238E27FC236}">
                <a16:creationId xmlns:a16="http://schemas.microsoft.com/office/drawing/2014/main" id="{8704B270-216B-4A67-8CA6-8126376B1983}"/>
              </a:ext>
            </a:extLst>
          </p:cNvPr>
          <p:cNvSpPr/>
          <p:nvPr/>
        </p:nvSpPr>
        <p:spPr>
          <a:xfrm>
            <a:off x="9869106" y="4692569"/>
            <a:ext cx="347308" cy="576064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12DA6D5-D5C9-4A74-9FD7-6C5B48339687}"/>
              </a:ext>
            </a:extLst>
          </p:cNvPr>
          <p:cNvSpPr txBox="1"/>
          <p:nvPr/>
        </p:nvSpPr>
        <p:spPr>
          <a:xfrm>
            <a:off x="7949570" y="2557320"/>
            <a:ext cx="499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1</a:t>
            </a:r>
            <a:r>
              <a:rPr lang="en-GB" baseline="30000" dirty="0">
                <a:solidFill>
                  <a:srgbClr val="FF0000"/>
                </a:solidFill>
              </a:rPr>
              <a:t>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5482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83F3DA-6AA5-4763-B89E-7023A94F9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utlook – to be better...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89C5445-81B7-45D6-A0C8-3508CD2555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1650251"/>
            <a:ext cx="5184576" cy="4574627"/>
          </a:xfrm>
          <a:prstGeom prst="rect">
            <a:avLst/>
          </a:prstGeom>
        </p:spPr>
      </p:pic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539725F4-BC13-4B81-AE39-E8638B1940A4}"/>
              </a:ext>
            </a:extLst>
          </p:cNvPr>
          <p:cNvCxnSpPr/>
          <p:nvPr/>
        </p:nvCxnSpPr>
        <p:spPr>
          <a:xfrm flipV="1">
            <a:off x="3215680" y="2708920"/>
            <a:ext cx="4680520" cy="20162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291A08FB-F02E-4834-A356-215495E3077F}"/>
              </a:ext>
            </a:extLst>
          </p:cNvPr>
          <p:cNvCxnSpPr/>
          <p:nvPr/>
        </p:nvCxnSpPr>
        <p:spPr>
          <a:xfrm>
            <a:off x="4439816" y="2420888"/>
            <a:ext cx="3456384" cy="720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>
            <a:extLst>
              <a:ext uri="{FF2B5EF4-FFF2-40B4-BE49-F238E27FC236}">
                <a16:creationId xmlns:a16="http://schemas.microsoft.com/office/drawing/2014/main" id="{A4BF6391-D9E9-460D-89BE-57204769F00A}"/>
              </a:ext>
            </a:extLst>
          </p:cNvPr>
          <p:cNvSpPr txBox="1"/>
          <p:nvPr/>
        </p:nvSpPr>
        <p:spPr>
          <a:xfrm>
            <a:off x="7987299" y="2156724"/>
            <a:ext cx="3562218" cy="92333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ow to improve the data flow for a big set of parameters rather than using index</a:t>
            </a:r>
            <a:r>
              <a:rPr lang="de-DE" dirty="0"/>
              <a:t>?</a:t>
            </a:r>
          </a:p>
        </p:txBody>
      </p:sp>
      <p:pic>
        <p:nvPicPr>
          <p:cNvPr id="14" name="图形 13" descr="问题">
            <a:extLst>
              <a:ext uri="{FF2B5EF4-FFF2-40B4-BE49-F238E27FC236}">
                <a16:creationId xmlns:a16="http://schemas.microsoft.com/office/drawing/2014/main" id="{0CA8772D-ACD8-4A7F-A5F8-BE1FBA930E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13787" y="3632012"/>
            <a:ext cx="914400" cy="914400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A9828E93-DD01-4820-8FCD-7077F80064A9}"/>
              </a:ext>
            </a:extLst>
          </p:cNvPr>
          <p:cNvSpPr txBox="1"/>
          <p:nvPr/>
        </p:nvSpPr>
        <p:spPr>
          <a:xfrm>
            <a:off x="8328248" y="4941168"/>
            <a:ext cx="3024336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Test this application with a real microgrid model?</a:t>
            </a:r>
          </a:p>
        </p:txBody>
      </p:sp>
    </p:spTree>
    <p:extLst>
      <p:ext uri="{BB962C8B-B14F-4D97-AF65-F5344CB8AC3E}">
        <p14:creationId xmlns:p14="http://schemas.microsoft.com/office/powerpoint/2010/main" val="4268204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31A79B-2743-41E3-A0AB-A168FBDF3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stion about ...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2B7F1D4-40C2-4B7F-9A35-B5B2986213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280" y="1916832"/>
            <a:ext cx="3901440" cy="390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580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2425229" y="3964994"/>
            <a:ext cx="244938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latin typeface="Tahoma" panose="020B0604030504040204" pitchFamily="34" charset="0"/>
              </a:rPr>
              <a:t>Implementation</a:t>
            </a:r>
          </a:p>
        </p:txBody>
      </p:sp>
      <p:sp>
        <p:nvSpPr>
          <p:cNvPr id="19" name="Rechteck 18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>
          <a:xfrm>
            <a:off x="2425229" y="3068960"/>
            <a:ext cx="244938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latin typeface="Tahoma" panose="020B0604030504040204" pitchFamily="34" charset="0"/>
              </a:rPr>
              <a:t>Methodology</a:t>
            </a:r>
          </a:p>
        </p:txBody>
      </p:sp>
      <p:sp>
        <p:nvSpPr>
          <p:cNvPr id="15" name="Rechteck 14">
            <a:hlinkClick r:id="rId14" action="ppaction://hlinksldjump"/>
          </p:cNvPr>
          <p:cNvSpPr/>
          <p:nvPr>
            <p:custDataLst>
              <p:tags r:id="rId4"/>
            </p:custDataLst>
          </p:nvPr>
        </p:nvSpPr>
        <p:spPr>
          <a:xfrm>
            <a:off x="2432939" y="2165373"/>
            <a:ext cx="244938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latin typeface="Tahoma" panose="020B0604030504040204" pitchFamily="34" charset="0"/>
              </a:rPr>
              <a:t>Introduction</a:t>
            </a:r>
          </a:p>
          <a:p>
            <a:endParaRPr lang="en-US" sz="2400" b="1" dirty="0">
              <a:solidFill>
                <a:schemeClr val="tx1">
                  <a:lumMod val="100000"/>
                </a:schemeClr>
              </a:solidFill>
              <a:latin typeface="Tahoma" panose="020B0604030504040204" pitchFamily="34" charset="0"/>
            </a:endParaRPr>
          </a:p>
        </p:txBody>
      </p:sp>
      <p:sp>
        <p:nvSpPr>
          <p:cNvPr id="14" name="Rechteck 13">
            <a:hlinkClick r:id="rId14" action="ppaction://hlinksldjump"/>
          </p:cNvPr>
          <p:cNvSpPr/>
          <p:nvPr>
            <p:custDataLst>
              <p:tags r:id="rId5"/>
            </p:custDataLst>
          </p:nvPr>
        </p:nvSpPr>
        <p:spPr>
          <a:xfrm>
            <a:off x="1868047" y="2214783"/>
            <a:ext cx="432048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100000"/>
                  </a:schemeClr>
                </a:solidFill>
                <a:latin typeface="Tahoma" panose="020B0604030504040204" pitchFamily="34" charset="0"/>
              </a:rPr>
              <a:t>1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5" name="Rechteck 24">
            <a:hlinkClick r:id="rId13" action="ppaction://hlinksldjump"/>
          </p:cNvPr>
          <p:cNvSpPr/>
          <p:nvPr>
            <p:custDataLst>
              <p:tags r:id="rId7"/>
            </p:custDataLst>
          </p:nvPr>
        </p:nvSpPr>
        <p:spPr>
          <a:xfrm>
            <a:off x="2432939" y="4901098"/>
            <a:ext cx="2449388" cy="40011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chemeClr val="tx1">
                    <a:lumMod val="100000"/>
                  </a:schemeClr>
                </a:solidFill>
                <a:latin typeface="Tahoma" panose="020B0604030504040204" pitchFamily="34" charset="0"/>
              </a:rPr>
              <a:t>Outlook</a:t>
            </a:r>
          </a:p>
        </p:txBody>
      </p:sp>
      <p:sp>
        <p:nvSpPr>
          <p:cNvPr id="23" name="Rechteck 13">
            <a:hlinkClick r:id="rId14" action="ppaction://hlinksldjump"/>
            <a:extLst>
              <a:ext uri="{FF2B5EF4-FFF2-40B4-BE49-F238E27FC236}">
                <a16:creationId xmlns:a16="http://schemas.microsoft.com/office/drawing/2014/main" id="{13A2CAE4-56BF-4990-AC1F-B82D50B1DCE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868047" y="3090638"/>
            <a:ext cx="432048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100000"/>
                  </a:schemeClr>
                </a:solidFill>
                <a:latin typeface="Tahoma" panose="020B0604030504040204" pitchFamily="34" charset="0"/>
              </a:rPr>
              <a:t>2</a:t>
            </a:r>
          </a:p>
        </p:txBody>
      </p:sp>
      <p:sp>
        <p:nvSpPr>
          <p:cNvPr id="24" name="Rechteck 13">
            <a:hlinkClick r:id="rId14" action="ppaction://hlinksldjump"/>
            <a:extLst>
              <a:ext uri="{FF2B5EF4-FFF2-40B4-BE49-F238E27FC236}">
                <a16:creationId xmlns:a16="http://schemas.microsoft.com/office/drawing/2014/main" id="{1FCB7BF7-0CB7-4015-90F3-0925A469C69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864585" y="4015903"/>
            <a:ext cx="432048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100000"/>
                  </a:schemeClr>
                </a:solidFill>
                <a:latin typeface="Tahoma" panose="020B0604030504040204" pitchFamily="34" charset="0"/>
              </a:rPr>
              <a:t>3</a:t>
            </a:r>
          </a:p>
        </p:txBody>
      </p:sp>
      <p:sp>
        <p:nvSpPr>
          <p:cNvPr id="27" name="Rechteck 13">
            <a:hlinkClick r:id="rId14" action="ppaction://hlinksldjump"/>
            <a:extLst>
              <a:ext uri="{FF2B5EF4-FFF2-40B4-BE49-F238E27FC236}">
                <a16:creationId xmlns:a16="http://schemas.microsoft.com/office/drawing/2014/main" id="{9899267D-8BE3-4471-8D64-3E2649801E7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863771" y="4941168"/>
            <a:ext cx="432048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100000"/>
                  </a:schemeClr>
                </a:solidFill>
                <a:latin typeface="Tahoma" panose="020B060403050404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43627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467DE2-7793-40BB-A50D-533EAEC66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duction - Motivation</a:t>
            </a:r>
          </a:p>
        </p:txBody>
      </p:sp>
      <p:grpSp>
        <p:nvGrpSpPr>
          <p:cNvPr id="3" name="Group 58">
            <a:extLst>
              <a:ext uri="{FF2B5EF4-FFF2-40B4-BE49-F238E27FC236}">
                <a16:creationId xmlns:a16="http://schemas.microsoft.com/office/drawing/2014/main" id="{7B91DD84-0AC9-47DC-9C5A-EBBDC6C67508}"/>
              </a:ext>
            </a:extLst>
          </p:cNvPr>
          <p:cNvGrpSpPr/>
          <p:nvPr/>
        </p:nvGrpSpPr>
        <p:grpSpPr>
          <a:xfrm>
            <a:off x="4827672" y="2010359"/>
            <a:ext cx="2332600" cy="3749339"/>
            <a:chOff x="0" y="0"/>
            <a:chExt cx="2332599" cy="3749337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BF74B2E-5D96-49F6-A5A3-EC07225092BA}"/>
                </a:ext>
              </a:extLst>
            </p:cNvPr>
            <p:cNvSpPr/>
            <p:nvPr/>
          </p:nvSpPr>
          <p:spPr>
            <a:xfrm>
              <a:off x="2035563" y="1253662"/>
              <a:ext cx="263547" cy="259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35" y="7875"/>
                  </a:moveTo>
                  <a:cubicBezTo>
                    <a:pt x="18294" y="6975"/>
                    <a:pt x="18294" y="6975"/>
                    <a:pt x="18294" y="6975"/>
                  </a:cubicBezTo>
                  <a:cubicBezTo>
                    <a:pt x="19616" y="4275"/>
                    <a:pt x="19396" y="4050"/>
                    <a:pt x="19176" y="3825"/>
                  </a:cubicBezTo>
                  <a:cubicBezTo>
                    <a:pt x="17633" y="2250"/>
                    <a:pt x="17633" y="2250"/>
                    <a:pt x="17633" y="2250"/>
                  </a:cubicBezTo>
                  <a:cubicBezTo>
                    <a:pt x="17412" y="2025"/>
                    <a:pt x="17412" y="2025"/>
                    <a:pt x="17412" y="2025"/>
                  </a:cubicBezTo>
                  <a:cubicBezTo>
                    <a:pt x="17192" y="2025"/>
                    <a:pt x="17192" y="2025"/>
                    <a:pt x="17192" y="2025"/>
                  </a:cubicBezTo>
                  <a:cubicBezTo>
                    <a:pt x="17192" y="2025"/>
                    <a:pt x="16971" y="2025"/>
                    <a:pt x="14327" y="3150"/>
                  </a:cubicBezTo>
                  <a:cubicBezTo>
                    <a:pt x="13445" y="2925"/>
                    <a:pt x="13445" y="2925"/>
                    <a:pt x="13445" y="2925"/>
                  </a:cubicBezTo>
                  <a:cubicBezTo>
                    <a:pt x="12343" y="0"/>
                    <a:pt x="12343" y="0"/>
                    <a:pt x="11902" y="0"/>
                  </a:cubicBezTo>
                  <a:cubicBezTo>
                    <a:pt x="9698" y="0"/>
                    <a:pt x="9698" y="0"/>
                    <a:pt x="9698" y="0"/>
                  </a:cubicBezTo>
                  <a:cubicBezTo>
                    <a:pt x="9257" y="0"/>
                    <a:pt x="9257" y="0"/>
                    <a:pt x="8155" y="2925"/>
                  </a:cubicBezTo>
                  <a:cubicBezTo>
                    <a:pt x="7273" y="3150"/>
                    <a:pt x="7273" y="3150"/>
                    <a:pt x="7273" y="3150"/>
                  </a:cubicBezTo>
                  <a:cubicBezTo>
                    <a:pt x="5510" y="2475"/>
                    <a:pt x="4629" y="2250"/>
                    <a:pt x="4408" y="2250"/>
                  </a:cubicBezTo>
                  <a:cubicBezTo>
                    <a:pt x="4188" y="2250"/>
                    <a:pt x="4188" y="2250"/>
                    <a:pt x="4188" y="2250"/>
                  </a:cubicBezTo>
                  <a:cubicBezTo>
                    <a:pt x="2424" y="3825"/>
                    <a:pt x="2424" y="3825"/>
                    <a:pt x="2424" y="3825"/>
                  </a:cubicBezTo>
                  <a:cubicBezTo>
                    <a:pt x="2204" y="4050"/>
                    <a:pt x="1984" y="4275"/>
                    <a:pt x="3306" y="7200"/>
                  </a:cubicBezTo>
                  <a:cubicBezTo>
                    <a:pt x="2865" y="8100"/>
                    <a:pt x="2865" y="8100"/>
                    <a:pt x="2865" y="8100"/>
                  </a:cubicBezTo>
                  <a:cubicBezTo>
                    <a:pt x="0" y="9225"/>
                    <a:pt x="0" y="9225"/>
                    <a:pt x="0" y="9675"/>
                  </a:cubicBezTo>
                  <a:cubicBezTo>
                    <a:pt x="0" y="11925"/>
                    <a:pt x="0" y="11925"/>
                    <a:pt x="0" y="11925"/>
                  </a:cubicBezTo>
                  <a:cubicBezTo>
                    <a:pt x="0" y="12150"/>
                    <a:pt x="0" y="12375"/>
                    <a:pt x="3086" y="13500"/>
                  </a:cubicBezTo>
                  <a:cubicBezTo>
                    <a:pt x="3306" y="14400"/>
                    <a:pt x="3306" y="14400"/>
                    <a:pt x="3306" y="14400"/>
                  </a:cubicBezTo>
                  <a:cubicBezTo>
                    <a:pt x="1984" y="17325"/>
                    <a:pt x="2204" y="17325"/>
                    <a:pt x="2424" y="17550"/>
                  </a:cubicBezTo>
                  <a:cubicBezTo>
                    <a:pt x="3967" y="19125"/>
                    <a:pt x="3967" y="19125"/>
                    <a:pt x="3967" y="19125"/>
                  </a:cubicBezTo>
                  <a:cubicBezTo>
                    <a:pt x="4188" y="19350"/>
                    <a:pt x="4188" y="19350"/>
                    <a:pt x="4188" y="19350"/>
                  </a:cubicBezTo>
                  <a:cubicBezTo>
                    <a:pt x="4408" y="19350"/>
                    <a:pt x="4408" y="19350"/>
                    <a:pt x="4408" y="19350"/>
                  </a:cubicBezTo>
                  <a:cubicBezTo>
                    <a:pt x="4408" y="19350"/>
                    <a:pt x="4849" y="19350"/>
                    <a:pt x="7273" y="18225"/>
                  </a:cubicBezTo>
                  <a:cubicBezTo>
                    <a:pt x="8155" y="18450"/>
                    <a:pt x="8155" y="18450"/>
                    <a:pt x="8155" y="18450"/>
                  </a:cubicBezTo>
                  <a:cubicBezTo>
                    <a:pt x="9257" y="21600"/>
                    <a:pt x="9478" y="21600"/>
                    <a:pt x="9698" y="21600"/>
                  </a:cubicBezTo>
                  <a:cubicBezTo>
                    <a:pt x="11902" y="21600"/>
                    <a:pt x="11902" y="21600"/>
                    <a:pt x="11902" y="21600"/>
                  </a:cubicBezTo>
                  <a:cubicBezTo>
                    <a:pt x="12343" y="21600"/>
                    <a:pt x="12563" y="21600"/>
                    <a:pt x="13445" y="18450"/>
                  </a:cubicBezTo>
                  <a:cubicBezTo>
                    <a:pt x="14547" y="18225"/>
                    <a:pt x="14547" y="18225"/>
                    <a:pt x="14547" y="18225"/>
                  </a:cubicBezTo>
                  <a:cubicBezTo>
                    <a:pt x="16090" y="18900"/>
                    <a:pt x="16971" y="19350"/>
                    <a:pt x="17412" y="19350"/>
                  </a:cubicBezTo>
                  <a:cubicBezTo>
                    <a:pt x="17633" y="19350"/>
                    <a:pt x="17633" y="19350"/>
                    <a:pt x="17633" y="19350"/>
                  </a:cubicBezTo>
                  <a:cubicBezTo>
                    <a:pt x="19176" y="17550"/>
                    <a:pt x="19176" y="17550"/>
                    <a:pt x="19176" y="17550"/>
                  </a:cubicBezTo>
                  <a:cubicBezTo>
                    <a:pt x="19616" y="17325"/>
                    <a:pt x="19616" y="17100"/>
                    <a:pt x="18294" y="14400"/>
                  </a:cubicBezTo>
                  <a:cubicBezTo>
                    <a:pt x="18735" y="13500"/>
                    <a:pt x="18735" y="13500"/>
                    <a:pt x="18735" y="13500"/>
                  </a:cubicBezTo>
                  <a:cubicBezTo>
                    <a:pt x="21600" y="12375"/>
                    <a:pt x="21600" y="12150"/>
                    <a:pt x="21600" y="11700"/>
                  </a:cubicBezTo>
                  <a:cubicBezTo>
                    <a:pt x="21600" y="9450"/>
                    <a:pt x="21600" y="9450"/>
                    <a:pt x="21600" y="9450"/>
                  </a:cubicBezTo>
                  <a:cubicBezTo>
                    <a:pt x="21600" y="9225"/>
                    <a:pt x="21600" y="9000"/>
                    <a:pt x="18735" y="7875"/>
                  </a:cubicBezTo>
                  <a:close/>
                  <a:moveTo>
                    <a:pt x="10800" y="14400"/>
                  </a:moveTo>
                  <a:cubicBezTo>
                    <a:pt x="8816" y="14400"/>
                    <a:pt x="7053" y="12825"/>
                    <a:pt x="7053" y="10800"/>
                  </a:cubicBezTo>
                  <a:cubicBezTo>
                    <a:pt x="7053" y="8550"/>
                    <a:pt x="8816" y="6975"/>
                    <a:pt x="10800" y="6975"/>
                  </a:cubicBezTo>
                  <a:cubicBezTo>
                    <a:pt x="12784" y="6975"/>
                    <a:pt x="14547" y="8550"/>
                    <a:pt x="14547" y="10800"/>
                  </a:cubicBezTo>
                  <a:cubicBezTo>
                    <a:pt x="14547" y="12825"/>
                    <a:pt x="12784" y="14400"/>
                    <a:pt x="10800" y="14400"/>
                  </a:cubicBezTo>
                  <a:close/>
                  <a:moveTo>
                    <a:pt x="10800" y="14400"/>
                  </a:moveTo>
                  <a:cubicBezTo>
                    <a:pt x="10800" y="14400"/>
                    <a:pt x="10800" y="14400"/>
                    <a:pt x="10800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427EE233-8A66-48CE-A87B-166F16634A6F}"/>
                </a:ext>
              </a:extLst>
            </p:cNvPr>
            <p:cNvSpPr/>
            <p:nvPr/>
          </p:nvSpPr>
          <p:spPr>
            <a:xfrm>
              <a:off x="2121470" y="649399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7624"/>
                  </a:moveTo>
                  <a:cubicBezTo>
                    <a:pt x="18424" y="6988"/>
                    <a:pt x="18424" y="6988"/>
                    <a:pt x="18424" y="6988"/>
                  </a:cubicBezTo>
                  <a:cubicBezTo>
                    <a:pt x="19694" y="3812"/>
                    <a:pt x="19694" y="3812"/>
                    <a:pt x="19694" y="3812"/>
                  </a:cubicBezTo>
                  <a:cubicBezTo>
                    <a:pt x="17788" y="1906"/>
                    <a:pt x="17788" y="1906"/>
                    <a:pt x="17788" y="1906"/>
                  </a:cubicBezTo>
                  <a:cubicBezTo>
                    <a:pt x="17788" y="1906"/>
                    <a:pt x="17788" y="1906"/>
                    <a:pt x="17788" y="1906"/>
                  </a:cubicBezTo>
                  <a:cubicBezTo>
                    <a:pt x="17153" y="1906"/>
                    <a:pt x="17153" y="1906"/>
                    <a:pt x="17153" y="1906"/>
                  </a:cubicBezTo>
                  <a:cubicBezTo>
                    <a:pt x="17153" y="1906"/>
                    <a:pt x="17153" y="1906"/>
                    <a:pt x="14612" y="3176"/>
                  </a:cubicBezTo>
                  <a:cubicBezTo>
                    <a:pt x="13341" y="2541"/>
                    <a:pt x="13341" y="2541"/>
                    <a:pt x="13341" y="2541"/>
                  </a:cubicBezTo>
                  <a:cubicBezTo>
                    <a:pt x="12706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9529" y="0"/>
                    <a:pt x="8894" y="0"/>
                    <a:pt x="8259" y="2541"/>
                  </a:cubicBezTo>
                  <a:cubicBezTo>
                    <a:pt x="6988" y="3176"/>
                    <a:pt x="6988" y="3176"/>
                    <a:pt x="6988" y="3176"/>
                  </a:cubicBezTo>
                  <a:cubicBezTo>
                    <a:pt x="5718" y="2541"/>
                    <a:pt x="4447" y="1906"/>
                    <a:pt x="4447" y="1906"/>
                  </a:cubicBezTo>
                  <a:cubicBezTo>
                    <a:pt x="3812" y="1906"/>
                    <a:pt x="3812" y="1906"/>
                    <a:pt x="3812" y="1906"/>
                  </a:cubicBezTo>
                  <a:cubicBezTo>
                    <a:pt x="1906" y="3812"/>
                    <a:pt x="1906" y="3812"/>
                    <a:pt x="1906" y="3812"/>
                  </a:cubicBezTo>
                  <a:cubicBezTo>
                    <a:pt x="1906" y="3812"/>
                    <a:pt x="1906" y="3812"/>
                    <a:pt x="3176" y="6988"/>
                  </a:cubicBezTo>
                  <a:cubicBezTo>
                    <a:pt x="2541" y="7624"/>
                    <a:pt x="2541" y="7624"/>
                    <a:pt x="2541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1435"/>
                    <a:pt x="0" y="11435"/>
                    <a:pt x="0" y="11435"/>
                  </a:cubicBezTo>
                  <a:cubicBezTo>
                    <a:pt x="0" y="12071"/>
                    <a:pt x="0" y="12071"/>
                    <a:pt x="2541" y="13341"/>
                  </a:cubicBezTo>
                  <a:cubicBezTo>
                    <a:pt x="3176" y="13976"/>
                    <a:pt x="3176" y="13976"/>
                    <a:pt x="3176" y="13976"/>
                  </a:cubicBezTo>
                  <a:cubicBezTo>
                    <a:pt x="1906" y="17153"/>
                    <a:pt x="1906" y="17153"/>
                    <a:pt x="2541" y="17153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4447" y="19059"/>
                    <a:pt x="4447" y="19059"/>
                    <a:pt x="4447" y="19059"/>
                  </a:cubicBezTo>
                  <a:cubicBezTo>
                    <a:pt x="4447" y="19059"/>
                    <a:pt x="4447" y="19059"/>
                    <a:pt x="6988" y="17788"/>
                  </a:cubicBezTo>
                  <a:cubicBezTo>
                    <a:pt x="8259" y="18424"/>
                    <a:pt x="8259" y="18424"/>
                    <a:pt x="8259" y="18424"/>
                  </a:cubicBezTo>
                  <a:cubicBezTo>
                    <a:pt x="9529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706" y="21600"/>
                    <a:pt x="12706" y="21600"/>
                    <a:pt x="13341" y="18424"/>
                  </a:cubicBezTo>
                  <a:cubicBezTo>
                    <a:pt x="14612" y="17788"/>
                    <a:pt x="14612" y="17788"/>
                    <a:pt x="14612" y="17788"/>
                  </a:cubicBezTo>
                  <a:cubicBezTo>
                    <a:pt x="16518" y="18424"/>
                    <a:pt x="17153" y="19059"/>
                    <a:pt x="17788" y="19059"/>
                  </a:cubicBezTo>
                  <a:cubicBezTo>
                    <a:pt x="17788" y="19059"/>
                    <a:pt x="17788" y="19059"/>
                    <a:pt x="17788" y="19059"/>
                  </a:cubicBezTo>
                  <a:cubicBezTo>
                    <a:pt x="19694" y="17153"/>
                    <a:pt x="19694" y="17153"/>
                    <a:pt x="19694" y="17153"/>
                  </a:cubicBezTo>
                  <a:cubicBezTo>
                    <a:pt x="19694" y="17153"/>
                    <a:pt x="19694" y="17153"/>
                    <a:pt x="18424" y="13976"/>
                  </a:cubicBezTo>
                  <a:cubicBezTo>
                    <a:pt x="19059" y="13341"/>
                    <a:pt x="19059" y="13341"/>
                    <a:pt x="19059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9059" y="7624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2706"/>
                    <a:pt x="6988" y="10800"/>
                  </a:cubicBezTo>
                  <a:cubicBezTo>
                    <a:pt x="6988" y="8259"/>
                    <a:pt x="8894" y="6988"/>
                    <a:pt x="10800" y="6988"/>
                  </a:cubicBezTo>
                  <a:cubicBezTo>
                    <a:pt x="12706" y="6988"/>
                    <a:pt x="14612" y="8259"/>
                    <a:pt x="14612" y="10800"/>
                  </a:cubicBezTo>
                  <a:cubicBezTo>
                    <a:pt x="14612" y="12706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B30F9FF0-C180-4B01-BC23-4D5FD32E8DAC}"/>
                </a:ext>
              </a:extLst>
            </p:cNvPr>
            <p:cNvSpPr/>
            <p:nvPr/>
          </p:nvSpPr>
          <p:spPr>
            <a:xfrm>
              <a:off x="2237955" y="1143002"/>
              <a:ext cx="94645" cy="917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3812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6663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1906"/>
                    <a:pt x="4320" y="1906"/>
                  </a:cubicBezTo>
                  <a:cubicBezTo>
                    <a:pt x="3703" y="1906"/>
                    <a:pt x="3703" y="1906"/>
                    <a:pt x="3703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3812"/>
                    <a:pt x="1851" y="4447"/>
                    <a:pt x="3086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086" y="13976"/>
                    <a:pt x="3086" y="13976"/>
                    <a:pt x="3086" y="13976"/>
                  </a:cubicBezTo>
                  <a:cubicBezTo>
                    <a:pt x="1851" y="17153"/>
                    <a:pt x="1851" y="17153"/>
                    <a:pt x="2469" y="17788"/>
                  </a:cubicBezTo>
                  <a:cubicBezTo>
                    <a:pt x="3703" y="19059"/>
                    <a:pt x="3703" y="19059"/>
                    <a:pt x="3703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6789" y="18424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131" y="17153"/>
                    <a:pt x="19131" y="17153"/>
                    <a:pt x="17897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259"/>
                    <a:pt x="8640" y="6988"/>
                    <a:pt x="10491" y="6988"/>
                  </a:cubicBezTo>
                  <a:cubicBezTo>
                    <a:pt x="12960" y="6988"/>
                    <a:pt x="14194" y="8259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C19B2C56-C423-413F-B58A-4BD29B092A59}"/>
                </a:ext>
              </a:extLst>
            </p:cNvPr>
            <p:cNvSpPr/>
            <p:nvPr/>
          </p:nvSpPr>
          <p:spPr>
            <a:xfrm>
              <a:off x="2143311" y="1550696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8514" y="6988"/>
                    <a:pt x="18514" y="6988"/>
                    <a:pt x="18514" y="6988"/>
                  </a:cubicBezTo>
                  <a:cubicBezTo>
                    <a:pt x="19749" y="3812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937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2469" y="3812"/>
                    <a:pt x="1851" y="3812"/>
                    <a:pt x="3703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703" y="13976"/>
                    <a:pt x="3703" y="13976"/>
                    <a:pt x="3703" y="13976"/>
                  </a:cubicBezTo>
                  <a:cubicBezTo>
                    <a:pt x="2469" y="17153"/>
                    <a:pt x="2469" y="17153"/>
                    <a:pt x="2469" y="17153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7788"/>
                    <a:pt x="14194" y="17788"/>
                    <a:pt x="14194" y="17788"/>
                  </a:cubicBezTo>
                  <a:cubicBezTo>
                    <a:pt x="16046" y="19059"/>
                    <a:pt x="17280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749" y="17153"/>
                    <a:pt x="19749" y="17153"/>
                    <a:pt x="18514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1109" y="14612"/>
                  </a:moveTo>
                  <a:cubicBezTo>
                    <a:pt x="8640" y="14612"/>
                    <a:pt x="7406" y="12706"/>
                    <a:pt x="7406" y="10800"/>
                  </a:cubicBezTo>
                  <a:cubicBezTo>
                    <a:pt x="7406" y="8259"/>
                    <a:pt x="8640" y="6988"/>
                    <a:pt x="11109" y="6988"/>
                  </a:cubicBezTo>
                  <a:cubicBezTo>
                    <a:pt x="12960" y="6988"/>
                    <a:pt x="14811" y="8259"/>
                    <a:pt x="14811" y="10800"/>
                  </a:cubicBezTo>
                  <a:cubicBezTo>
                    <a:pt x="14811" y="12706"/>
                    <a:pt x="12960" y="14612"/>
                    <a:pt x="11109" y="14612"/>
                  </a:cubicBezTo>
                  <a:close/>
                  <a:moveTo>
                    <a:pt x="11109" y="14612"/>
                  </a:moveTo>
                  <a:cubicBezTo>
                    <a:pt x="11109" y="14612"/>
                    <a:pt x="11109" y="14612"/>
                    <a:pt x="11109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09C81138-D581-4F82-B712-194249714E65}"/>
                </a:ext>
              </a:extLst>
            </p:cNvPr>
            <p:cNvSpPr/>
            <p:nvPr/>
          </p:nvSpPr>
          <p:spPr>
            <a:xfrm>
              <a:off x="2013722" y="1812786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8514" y="6988"/>
                    <a:pt x="18514" y="6988"/>
                    <a:pt x="18514" y="6988"/>
                  </a:cubicBezTo>
                  <a:cubicBezTo>
                    <a:pt x="19749" y="3812"/>
                    <a:pt x="19749" y="3812"/>
                    <a:pt x="19131" y="3812"/>
                  </a:cubicBezTo>
                  <a:cubicBezTo>
                    <a:pt x="17897" y="1906"/>
                    <a:pt x="17897" y="1906"/>
                    <a:pt x="17897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4811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2343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937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2469" y="3812"/>
                    <a:pt x="2469" y="3812"/>
                    <a:pt x="3703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1435"/>
                    <a:pt x="0" y="11435"/>
                    <a:pt x="0" y="11435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703" y="13976"/>
                    <a:pt x="3703" y="13976"/>
                    <a:pt x="3703" y="13976"/>
                  </a:cubicBezTo>
                  <a:cubicBezTo>
                    <a:pt x="2469" y="17153"/>
                    <a:pt x="2469" y="17153"/>
                    <a:pt x="2469" y="17153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937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874" y="21600"/>
                    <a:pt x="9874" y="21600"/>
                  </a:cubicBezTo>
                  <a:cubicBezTo>
                    <a:pt x="12343" y="21600"/>
                    <a:pt x="12343" y="21600"/>
                    <a:pt x="12343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811" y="17788"/>
                    <a:pt x="14811" y="17788"/>
                    <a:pt x="14811" y="17788"/>
                  </a:cubicBezTo>
                  <a:cubicBezTo>
                    <a:pt x="16046" y="18424"/>
                    <a:pt x="17280" y="19059"/>
                    <a:pt x="17280" y="19059"/>
                  </a:cubicBezTo>
                  <a:cubicBezTo>
                    <a:pt x="17897" y="19059"/>
                    <a:pt x="17897" y="19059"/>
                    <a:pt x="17897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749" y="17153"/>
                    <a:pt x="19749" y="17153"/>
                    <a:pt x="18514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1109" y="13976"/>
                  </a:moveTo>
                  <a:cubicBezTo>
                    <a:pt x="8640" y="13976"/>
                    <a:pt x="7406" y="12706"/>
                    <a:pt x="7406" y="10800"/>
                  </a:cubicBezTo>
                  <a:cubicBezTo>
                    <a:pt x="7406" y="8259"/>
                    <a:pt x="8640" y="6988"/>
                    <a:pt x="11109" y="6988"/>
                  </a:cubicBezTo>
                  <a:cubicBezTo>
                    <a:pt x="12960" y="6988"/>
                    <a:pt x="14811" y="8259"/>
                    <a:pt x="14811" y="10800"/>
                  </a:cubicBezTo>
                  <a:cubicBezTo>
                    <a:pt x="14811" y="12706"/>
                    <a:pt x="12960" y="13976"/>
                    <a:pt x="11109" y="13976"/>
                  </a:cubicBezTo>
                  <a:close/>
                  <a:moveTo>
                    <a:pt x="11109" y="13976"/>
                  </a:moveTo>
                  <a:cubicBezTo>
                    <a:pt x="11109" y="13976"/>
                    <a:pt x="11109" y="13976"/>
                    <a:pt x="11109" y="13976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9377AAB-68AA-428C-8AFB-241C77823020}"/>
                </a:ext>
              </a:extLst>
            </p:cNvPr>
            <p:cNvSpPr/>
            <p:nvPr/>
          </p:nvSpPr>
          <p:spPr>
            <a:xfrm>
              <a:off x="1023606" y="1132809"/>
              <a:ext cx="1084761" cy="10629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45" y="8059"/>
                  </a:moveTo>
                  <a:cubicBezTo>
                    <a:pt x="18269" y="7182"/>
                    <a:pt x="18269" y="7182"/>
                    <a:pt x="18269" y="7182"/>
                  </a:cubicBezTo>
                  <a:cubicBezTo>
                    <a:pt x="19558" y="4276"/>
                    <a:pt x="19451" y="4166"/>
                    <a:pt x="19236" y="3947"/>
                  </a:cubicBezTo>
                  <a:cubicBezTo>
                    <a:pt x="17624" y="2303"/>
                    <a:pt x="17624" y="2303"/>
                    <a:pt x="17624" y="2303"/>
                  </a:cubicBezTo>
                  <a:cubicBezTo>
                    <a:pt x="17463" y="2193"/>
                    <a:pt x="17463" y="2193"/>
                    <a:pt x="17463" y="2193"/>
                  </a:cubicBezTo>
                  <a:cubicBezTo>
                    <a:pt x="17248" y="2193"/>
                    <a:pt x="17248" y="2193"/>
                    <a:pt x="17248" y="2193"/>
                  </a:cubicBezTo>
                  <a:cubicBezTo>
                    <a:pt x="17140" y="2193"/>
                    <a:pt x="16872" y="2193"/>
                    <a:pt x="14400" y="3344"/>
                  </a:cubicBezTo>
                  <a:cubicBezTo>
                    <a:pt x="13540" y="2960"/>
                    <a:pt x="13540" y="2960"/>
                    <a:pt x="13540" y="2960"/>
                  </a:cubicBezTo>
                  <a:cubicBezTo>
                    <a:pt x="12358" y="0"/>
                    <a:pt x="12251" y="0"/>
                    <a:pt x="11875" y="0"/>
                  </a:cubicBezTo>
                  <a:cubicBezTo>
                    <a:pt x="9618" y="0"/>
                    <a:pt x="9618" y="0"/>
                    <a:pt x="9618" y="0"/>
                  </a:cubicBezTo>
                  <a:cubicBezTo>
                    <a:pt x="9296" y="0"/>
                    <a:pt x="9134" y="0"/>
                    <a:pt x="8060" y="2960"/>
                  </a:cubicBezTo>
                  <a:cubicBezTo>
                    <a:pt x="7200" y="3344"/>
                    <a:pt x="7200" y="3344"/>
                    <a:pt x="7200" y="3344"/>
                  </a:cubicBezTo>
                  <a:cubicBezTo>
                    <a:pt x="5534" y="2631"/>
                    <a:pt x="4567" y="2248"/>
                    <a:pt x="4299" y="2248"/>
                  </a:cubicBezTo>
                  <a:cubicBezTo>
                    <a:pt x="4084" y="2248"/>
                    <a:pt x="4084" y="2248"/>
                    <a:pt x="4084" y="2248"/>
                  </a:cubicBezTo>
                  <a:cubicBezTo>
                    <a:pt x="2364" y="4002"/>
                    <a:pt x="2364" y="4002"/>
                    <a:pt x="2364" y="4002"/>
                  </a:cubicBezTo>
                  <a:cubicBezTo>
                    <a:pt x="2096" y="4221"/>
                    <a:pt x="1988" y="4331"/>
                    <a:pt x="3331" y="7182"/>
                  </a:cubicBezTo>
                  <a:cubicBezTo>
                    <a:pt x="2955" y="8059"/>
                    <a:pt x="2955" y="8059"/>
                    <a:pt x="2955" y="8059"/>
                  </a:cubicBezTo>
                  <a:cubicBezTo>
                    <a:pt x="0" y="9265"/>
                    <a:pt x="0" y="9375"/>
                    <a:pt x="0" y="9704"/>
                  </a:cubicBezTo>
                  <a:cubicBezTo>
                    <a:pt x="0" y="12006"/>
                    <a:pt x="0" y="12006"/>
                    <a:pt x="0" y="12006"/>
                  </a:cubicBezTo>
                  <a:cubicBezTo>
                    <a:pt x="0" y="12335"/>
                    <a:pt x="0" y="12445"/>
                    <a:pt x="2955" y="13541"/>
                  </a:cubicBezTo>
                  <a:cubicBezTo>
                    <a:pt x="3331" y="14418"/>
                    <a:pt x="3331" y="14418"/>
                    <a:pt x="3331" y="14418"/>
                  </a:cubicBezTo>
                  <a:cubicBezTo>
                    <a:pt x="2096" y="17324"/>
                    <a:pt x="2149" y="17434"/>
                    <a:pt x="2418" y="17653"/>
                  </a:cubicBezTo>
                  <a:cubicBezTo>
                    <a:pt x="4030" y="19297"/>
                    <a:pt x="4030" y="19297"/>
                    <a:pt x="4030" y="19297"/>
                  </a:cubicBezTo>
                  <a:cubicBezTo>
                    <a:pt x="4191" y="19407"/>
                    <a:pt x="4191" y="19407"/>
                    <a:pt x="4191" y="19407"/>
                  </a:cubicBezTo>
                  <a:cubicBezTo>
                    <a:pt x="4352" y="19407"/>
                    <a:pt x="4352" y="19407"/>
                    <a:pt x="4352" y="19407"/>
                  </a:cubicBezTo>
                  <a:cubicBezTo>
                    <a:pt x="4460" y="19407"/>
                    <a:pt x="4728" y="19407"/>
                    <a:pt x="7200" y="18311"/>
                  </a:cubicBezTo>
                  <a:cubicBezTo>
                    <a:pt x="8113" y="18640"/>
                    <a:pt x="8113" y="18640"/>
                    <a:pt x="8113" y="18640"/>
                  </a:cubicBezTo>
                  <a:cubicBezTo>
                    <a:pt x="9242" y="21600"/>
                    <a:pt x="9403" y="21600"/>
                    <a:pt x="9725" y="21600"/>
                  </a:cubicBezTo>
                  <a:cubicBezTo>
                    <a:pt x="11982" y="21600"/>
                    <a:pt x="11982" y="21600"/>
                    <a:pt x="11982" y="21600"/>
                  </a:cubicBezTo>
                  <a:cubicBezTo>
                    <a:pt x="12358" y="21600"/>
                    <a:pt x="12466" y="21600"/>
                    <a:pt x="13540" y="18640"/>
                  </a:cubicBezTo>
                  <a:cubicBezTo>
                    <a:pt x="14454" y="18256"/>
                    <a:pt x="14454" y="18256"/>
                    <a:pt x="14454" y="18256"/>
                  </a:cubicBezTo>
                  <a:cubicBezTo>
                    <a:pt x="16119" y="18969"/>
                    <a:pt x="17087" y="19352"/>
                    <a:pt x="17301" y="19352"/>
                  </a:cubicBezTo>
                  <a:cubicBezTo>
                    <a:pt x="17516" y="19352"/>
                    <a:pt x="17516" y="19352"/>
                    <a:pt x="17516" y="19352"/>
                  </a:cubicBezTo>
                  <a:cubicBezTo>
                    <a:pt x="19290" y="17598"/>
                    <a:pt x="19290" y="17598"/>
                    <a:pt x="19290" y="17598"/>
                  </a:cubicBezTo>
                  <a:cubicBezTo>
                    <a:pt x="19558" y="17324"/>
                    <a:pt x="19612" y="17269"/>
                    <a:pt x="18269" y="14418"/>
                  </a:cubicBezTo>
                  <a:cubicBezTo>
                    <a:pt x="18645" y="13541"/>
                    <a:pt x="18645" y="13541"/>
                    <a:pt x="18645" y="13541"/>
                  </a:cubicBezTo>
                  <a:cubicBezTo>
                    <a:pt x="21600" y="12335"/>
                    <a:pt x="21600" y="12225"/>
                    <a:pt x="21600" y="11896"/>
                  </a:cubicBezTo>
                  <a:cubicBezTo>
                    <a:pt x="21600" y="9594"/>
                    <a:pt x="21600" y="9594"/>
                    <a:pt x="21600" y="9594"/>
                  </a:cubicBezTo>
                  <a:cubicBezTo>
                    <a:pt x="21600" y="9265"/>
                    <a:pt x="21600" y="9155"/>
                    <a:pt x="18645" y="8059"/>
                  </a:cubicBezTo>
                  <a:close/>
                  <a:moveTo>
                    <a:pt x="10800" y="14583"/>
                  </a:moveTo>
                  <a:cubicBezTo>
                    <a:pt x="8704" y="14583"/>
                    <a:pt x="7039" y="12883"/>
                    <a:pt x="7039" y="10800"/>
                  </a:cubicBezTo>
                  <a:cubicBezTo>
                    <a:pt x="7039" y="8717"/>
                    <a:pt x="8704" y="7017"/>
                    <a:pt x="10800" y="7017"/>
                  </a:cubicBezTo>
                  <a:cubicBezTo>
                    <a:pt x="12896" y="7017"/>
                    <a:pt x="14561" y="8717"/>
                    <a:pt x="14561" y="10800"/>
                  </a:cubicBezTo>
                  <a:cubicBezTo>
                    <a:pt x="14561" y="12883"/>
                    <a:pt x="12896" y="14583"/>
                    <a:pt x="10800" y="14583"/>
                  </a:cubicBezTo>
                  <a:close/>
                  <a:moveTo>
                    <a:pt x="10800" y="14583"/>
                  </a:moveTo>
                  <a:cubicBezTo>
                    <a:pt x="10800" y="14583"/>
                    <a:pt x="10800" y="14583"/>
                    <a:pt x="10800" y="14583"/>
                  </a:cubicBezTo>
                </a:path>
              </a:pathLst>
            </a:custGeom>
            <a:solidFill>
              <a:srgbClr val="00BAF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B68CE30-150F-418D-A0D3-41B8B3089E63}"/>
                </a:ext>
              </a:extLst>
            </p:cNvPr>
            <p:cNvSpPr/>
            <p:nvPr/>
          </p:nvSpPr>
          <p:spPr>
            <a:xfrm>
              <a:off x="796461" y="18929"/>
              <a:ext cx="1084762" cy="10629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45" y="8004"/>
                  </a:moveTo>
                  <a:cubicBezTo>
                    <a:pt x="18269" y="7127"/>
                    <a:pt x="18269" y="7127"/>
                    <a:pt x="18269" y="7127"/>
                  </a:cubicBezTo>
                  <a:cubicBezTo>
                    <a:pt x="19558" y="4221"/>
                    <a:pt x="19451" y="4166"/>
                    <a:pt x="19182" y="3892"/>
                  </a:cubicBezTo>
                  <a:cubicBezTo>
                    <a:pt x="17570" y="2303"/>
                    <a:pt x="17570" y="2303"/>
                    <a:pt x="17570" y="2303"/>
                  </a:cubicBezTo>
                  <a:cubicBezTo>
                    <a:pt x="17463" y="2138"/>
                    <a:pt x="17463" y="2138"/>
                    <a:pt x="17463" y="2138"/>
                  </a:cubicBezTo>
                  <a:cubicBezTo>
                    <a:pt x="17248" y="2138"/>
                    <a:pt x="17248" y="2138"/>
                    <a:pt x="17248" y="2138"/>
                  </a:cubicBezTo>
                  <a:cubicBezTo>
                    <a:pt x="17140" y="2138"/>
                    <a:pt x="16872" y="2138"/>
                    <a:pt x="14400" y="3289"/>
                  </a:cubicBezTo>
                  <a:cubicBezTo>
                    <a:pt x="13487" y="2906"/>
                    <a:pt x="13487" y="2906"/>
                    <a:pt x="13487" y="2906"/>
                  </a:cubicBezTo>
                  <a:cubicBezTo>
                    <a:pt x="12358" y="0"/>
                    <a:pt x="12251" y="0"/>
                    <a:pt x="11875" y="0"/>
                  </a:cubicBezTo>
                  <a:cubicBezTo>
                    <a:pt x="9618" y="0"/>
                    <a:pt x="9618" y="0"/>
                    <a:pt x="9618" y="0"/>
                  </a:cubicBezTo>
                  <a:cubicBezTo>
                    <a:pt x="9296" y="0"/>
                    <a:pt x="9134" y="0"/>
                    <a:pt x="8060" y="2906"/>
                  </a:cubicBezTo>
                  <a:cubicBezTo>
                    <a:pt x="7146" y="3289"/>
                    <a:pt x="7146" y="3289"/>
                    <a:pt x="7146" y="3289"/>
                  </a:cubicBezTo>
                  <a:cubicBezTo>
                    <a:pt x="5534" y="2577"/>
                    <a:pt x="4567" y="2248"/>
                    <a:pt x="4299" y="2248"/>
                  </a:cubicBezTo>
                  <a:cubicBezTo>
                    <a:pt x="4084" y="2248"/>
                    <a:pt x="4084" y="2248"/>
                    <a:pt x="4084" y="2248"/>
                  </a:cubicBezTo>
                  <a:cubicBezTo>
                    <a:pt x="2364" y="3947"/>
                    <a:pt x="2364" y="3947"/>
                    <a:pt x="2364" y="3947"/>
                  </a:cubicBezTo>
                  <a:cubicBezTo>
                    <a:pt x="2096" y="4221"/>
                    <a:pt x="1988" y="4331"/>
                    <a:pt x="3331" y="7182"/>
                  </a:cubicBezTo>
                  <a:cubicBezTo>
                    <a:pt x="2955" y="8059"/>
                    <a:pt x="2955" y="8059"/>
                    <a:pt x="2955" y="8059"/>
                  </a:cubicBezTo>
                  <a:cubicBezTo>
                    <a:pt x="0" y="9210"/>
                    <a:pt x="0" y="9320"/>
                    <a:pt x="0" y="9704"/>
                  </a:cubicBezTo>
                  <a:cubicBezTo>
                    <a:pt x="0" y="11951"/>
                    <a:pt x="0" y="11951"/>
                    <a:pt x="0" y="11951"/>
                  </a:cubicBezTo>
                  <a:cubicBezTo>
                    <a:pt x="0" y="12335"/>
                    <a:pt x="0" y="12445"/>
                    <a:pt x="2955" y="13541"/>
                  </a:cubicBezTo>
                  <a:cubicBezTo>
                    <a:pt x="3331" y="14418"/>
                    <a:pt x="3331" y="14418"/>
                    <a:pt x="3331" y="14418"/>
                  </a:cubicBezTo>
                  <a:cubicBezTo>
                    <a:pt x="2042" y="17324"/>
                    <a:pt x="2149" y="17379"/>
                    <a:pt x="2418" y="17653"/>
                  </a:cubicBezTo>
                  <a:cubicBezTo>
                    <a:pt x="4030" y="19243"/>
                    <a:pt x="4030" y="19243"/>
                    <a:pt x="4030" y="19243"/>
                  </a:cubicBezTo>
                  <a:cubicBezTo>
                    <a:pt x="4137" y="19407"/>
                    <a:pt x="4137" y="19407"/>
                    <a:pt x="4137" y="19407"/>
                  </a:cubicBezTo>
                  <a:cubicBezTo>
                    <a:pt x="4352" y="19407"/>
                    <a:pt x="4352" y="19407"/>
                    <a:pt x="4352" y="19407"/>
                  </a:cubicBezTo>
                  <a:cubicBezTo>
                    <a:pt x="4460" y="19407"/>
                    <a:pt x="4728" y="19407"/>
                    <a:pt x="7200" y="18256"/>
                  </a:cubicBezTo>
                  <a:cubicBezTo>
                    <a:pt x="8113" y="18640"/>
                    <a:pt x="8113" y="18640"/>
                    <a:pt x="8113" y="18640"/>
                  </a:cubicBezTo>
                  <a:cubicBezTo>
                    <a:pt x="9242" y="21600"/>
                    <a:pt x="9349" y="21600"/>
                    <a:pt x="9725" y="21600"/>
                  </a:cubicBezTo>
                  <a:cubicBezTo>
                    <a:pt x="11982" y="21600"/>
                    <a:pt x="11982" y="21600"/>
                    <a:pt x="11982" y="21600"/>
                  </a:cubicBezTo>
                  <a:cubicBezTo>
                    <a:pt x="12358" y="21600"/>
                    <a:pt x="12466" y="21600"/>
                    <a:pt x="13540" y="18640"/>
                  </a:cubicBezTo>
                  <a:cubicBezTo>
                    <a:pt x="14454" y="18256"/>
                    <a:pt x="14454" y="18256"/>
                    <a:pt x="14454" y="18256"/>
                  </a:cubicBezTo>
                  <a:cubicBezTo>
                    <a:pt x="16066" y="18969"/>
                    <a:pt x="17033" y="19297"/>
                    <a:pt x="17301" y="19297"/>
                  </a:cubicBezTo>
                  <a:cubicBezTo>
                    <a:pt x="17516" y="19297"/>
                    <a:pt x="17516" y="19297"/>
                    <a:pt x="17516" y="19297"/>
                  </a:cubicBezTo>
                  <a:cubicBezTo>
                    <a:pt x="19290" y="17598"/>
                    <a:pt x="19290" y="17598"/>
                    <a:pt x="19290" y="17598"/>
                  </a:cubicBezTo>
                  <a:cubicBezTo>
                    <a:pt x="19504" y="17324"/>
                    <a:pt x="19612" y="17214"/>
                    <a:pt x="18269" y="14363"/>
                  </a:cubicBezTo>
                  <a:cubicBezTo>
                    <a:pt x="18645" y="13486"/>
                    <a:pt x="18645" y="13486"/>
                    <a:pt x="18645" y="13486"/>
                  </a:cubicBezTo>
                  <a:cubicBezTo>
                    <a:pt x="21600" y="12335"/>
                    <a:pt x="21600" y="12225"/>
                    <a:pt x="21600" y="11842"/>
                  </a:cubicBezTo>
                  <a:cubicBezTo>
                    <a:pt x="21600" y="9594"/>
                    <a:pt x="21600" y="9594"/>
                    <a:pt x="21600" y="9594"/>
                  </a:cubicBezTo>
                  <a:cubicBezTo>
                    <a:pt x="21600" y="9210"/>
                    <a:pt x="21600" y="9101"/>
                    <a:pt x="18645" y="8004"/>
                  </a:cubicBezTo>
                  <a:close/>
                  <a:moveTo>
                    <a:pt x="10800" y="14528"/>
                  </a:moveTo>
                  <a:cubicBezTo>
                    <a:pt x="8704" y="14528"/>
                    <a:pt x="7039" y="12883"/>
                    <a:pt x="7039" y="10745"/>
                  </a:cubicBezTo>
                  <a:cubicBezTo>
                    <a:pt x="7039" y="8662"/>
                    <a:pt x="8704" y="7017"/>
                    <a:pt x="10800" y="7017"/>
                  </a:cubicBezTo>
                  <a:cubicBezTo>
                    <a:pt x="12896" y="7017"/>
                    <a:pt x="14561" y="8662"/>
                    <a:pt x="14561" y="10745"/>
                  </a:cubicBezTo>
                  <a:cubicBezTo>
                    <a:pt x="14561" y="12883"/>
                    <a:pt x="12896" y="14528"/>
                    <a:pt x="10800" y="14528"/>
                  </a:cubicBezTo>
                  <a:close/>
                  <a:moveTo>
                    <a:pt x="10800" y="14528"/>
                  </a:moveTo>
                  <a:cubicBezTo>
                    <a:pt x="10800" y="14528"/>
                    <a:pt x="10800" y="14528"/>
                    <a:pt x="10800" y="14528"/>
                  </a:cubicBezTo>
                </a:path>
              </a:pathLst>
            </a:custGeom>
            <a:solidFill>
              <a:srgbClr val="89C6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A2F8F548-D540-4484-B385-6DB72635DB7A}"/>
                </a:ext>
              </a:extLst>
            </p:cNvPr>
            <p:cNvSpPr/>
            <p:nvPr/>
          </p:nvSpPr>
          <p:spPr>
            <a:xfrm>
              <a:off x="34945" y="832862"/>
              <a:ext cx="990117" cy="9711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57" y="8040"/>
                  </a:moveTo>
                  <a:cubicBezTo>
                    <a:pt x="18245" y="7200"/>
                    <a:pt x="18245" y="7200"/>
                    <a:pt x="18245" y="7200"/>
                  </a:cubicBezTo>
                  <a:cubicBezTo>
                    <a:pt x="19540" y="4260"/>
                    <a:pt x="19422" y="4200"/>
                    <a:pt x="19187" y="3960"/>
                  </a:cubicBezTo>
                  <a:cubicBezTo>
                    <a:pt x="17598" y="2340"/>
                    <a:pt x="17598" y="2340"/>
                    <a:pt x="17598" y="2340"/>
                  </a:cubicBezTo>
                  <a:cubicBezTo>
                    <a:pt x="17421" y="2220"/>
                    <a:pt x="17421" y="2220"/>
                    <a:pt x="17421" y="2220"/>
                  </a:cubicBezTo>
                  <a:cubicBezTo>
                    <a:pt x="17245" y="2220"/>
                    <a:pt x="17245" y="2220"/>
                    <a:pt x="17245" y="2220"/>
                  </a:cubicBezTo>
                  <a:cubicBezTo>
                    <a:pt x="17127" y="2220"/>
                    <a:pt x="16833" y="2220"/>
                    <a:pt x="14420" y="3300"/>
                  </a:cubicBezTo>
                  <a:cubicBezTo>
                    <a:pt x="13478" y="2940"/>
                    <a:pt x="13478" y="2940"/>
                    <a:pt x="13478" y="2940"/>
                  </a:cubicBezTo>
                  <a:cubicBezTo>
                    <a:pt x="12360" y="0"/>
                    <a:pt x="12242" y="0"/>
                    <a:pt x="11889" y="0"/>
                  </a:cubicBezTo>
                  <a:cubicBezTo>
                    <a:pt x="9593" y="0"/>
                    <a:pt x="9593" y="0"/>
                    <a:pt x="9593" y="0"/>
                  </a:cubicBezTo>
                  <a:cubicBezTo>
                    <a:pt x="9240" y="0"/>
                    <a:pt x="9123" y="0"/>
                    <a:pt x="8063" y="2940"/>
                  </a:cubicBezTo>
                  <a:cubicBezTo>
                    <a:pt x="7180" y="3360"/>
                    <a:pt x="7180" y="3360"/>
                    <a:pt x="7180" y="3360"/>
                  </a:cubicBezTo>
                  <a:cubicBezTo>
                    <a:pt x="5532" y="2640"/>
                    <a:pt x="4532" y="2280"/>
                    <a:pt x="4296" y="2280"/>
                  </a:cubicBezTo>
                  <a:cubicBezTo>
                    <a:pt x="4061" y="2280"/>
                    <a:pt x="4061" y="2280"/>
                    <a:pt x="4061" y="2280"/>
                  </a:cubicBezTo>
                  <a:cubicBezTo>
                    <a:pt x="2354" y="4020"/>
                    <a:pt x="2354" y="4020"/>
                    <a:pt x="2354" y="4020"/>
                  </a:cubicBezTo>
                  <a:cubicBezTo>
                    <a:pt x="2060" y="4260"/>
                    <a:pt x="2001" y="4320"/>
                    <a:pt x="3296" y="7200"/>
                  </a:cubicBezTo>
                  <a:cubicBezTo>
                    <a:pt x="2943" y="8100"/>
                    <a:pt x="2943" y="8100"/>
                    <a:pt x="2943" y="8100"/>
                  </a:cubicBezTo>
                  <a:cubicBezTo>
                    <a:pt x="0" y="9240"/>
                    <a:pt x="0" y="9360"/>
                    <a:pt x="0" y="9720"/>
                  </a:cubicBezTo>
                  <a:cubicBezTo>
                    <a:pt x="0" y="12000"/>
                    <a:pt x="0" y="12000"/>
                    <a:pt x="0" y="12000"/>
                  </a:cubicBezTo>
                  <a:cubicBezTo>
                    <a:pt x="0" y="12360"/>
                    <a:pt x="0" y="12480"/>
                    <a:pt x="2943" y="13560"/>
                  </a:cubicBezTo>
                  <a:cubicBezTo>
                    <a:pt x="3296" y="14460"/>
                    <a:pt x="3296" y="14460"/>
                    <a:pt x="3296" y="14460"/>
                  </a:cubicBezTo>
                  <a:cubicBezTo>
                    <a:pt x="2060" y="17340"/>
                    <a:pt x="2119" y="17400"/>
                    <a:pt x="2413" y="17700"/>
                  </a:cubicBezTo>
                  <a:cubicBezTo>
                    <a:pt x="4002" y="19260"/>
                    <a:pt x="4002" y="19260"/>
                    <a:pt x="4002" y="19260"/>
                  </a:cubicBezTo>
                  <a:cubicBezTo>
                    <a:pt x="4179" y="19440"/>
                    <a:pt x="4179" y="19440"/>
                    <a:pt x="4179" y="19440"/>
                  </a:cubicBezTo>
                  <a:cubicBezTo>
                    <a:pt x="4355" y="19440"/>
                    <a:pt x="4355" y="19440"/>
                    <a:pt x="4355" y="19440"/>
                  </a:cubicBezTo>
                  <a:cubicBezTo>
                    <a:pt x="4414" y="19440"/>
                    <a:pt x="4708" y="19440"/>
                    <a:pt x="7180" y="18300"/>
                  </a:cubicBezTo>
                  <a:cubicBezTo>
                    <a:pt x="8063" y="18660"/>
                    <a:pt x="8063" y="18660"/>
                    <a:pt x="8063" y="18660"/>
                  </a:cubicBezTo>
                  <a:cubicBezTo>
                    <a:pt x="9240" y="21600"/>
                    <a:pt x="9358" y="21600"/>
                    <a:pt x="9711" y="21600"/>
                  </a:cubicBezTo>
                  <a:cubicBezTo>
                    <a:pt x="11948" y="21600"/>
                    <a:pt x="11948" y="21600"/>
                    <a:pt x="11948" y="21600"/>
                  </a:cubicBezTo>
                  <a:cubicBezTo>
                    <a:pt x="12301" y="21600"/>
                    <a:pt x="12419" y="21600"/>
                    <a:pt x="13537" y="18660"/>
                  </a:cubicBezTo>
                  <a:cubicBezTo>
                    <a:pt x="14420" y="18300"/>
                    <a:pt x="14420" y="18300"/>
                    <a:pt x="14420" y="18300"/>
                  </a:cubicBezTo>
                  <a:cubicBezTo>
                    <a:pt x="16068" y="18960"/>
                    <a:pt x="17068" y="19380"/>
                    <a:pt x="17304" y="19380"/>
                  </a:cubicBezTo>
                  <a:cubicBezTo>
                    <a:pt x="17539" y="19320"/>
                    <a:pt x="17539" y="19320"/>
                    <a:pt x="17539" y="19320"/>
                  </a:cubicBezTo>
                  <a:cubicBezTo>
                    <a:pt x="19246" y="17580"/>
                    <a:pt x="19246" y="17580"/>
                    <a:pt x="19246" y="17580"/>
                  </a:cubicBezTo>
                  <a:cubicBezTo>
                    <a:pt x="19540" y="17340"/>
                    <a:pt x="19599" y="17280"/>
                    <a:pt x="18304" y="14400"/>
                  </a:cubicBezTo>
                  <a:cubicBezTo>
                    <a:pt x="18657" y="13500"/>
                    <a:pt x="18657" y="13500"/>
                    <a:pt x="18657" y="13500"/>
                  </a:cubicBezTo>
                  <a:cubicBezTo>
                    <a:pt x="21600" y="12360"/>
                    <a:pt x="21600" y="12240"/>
                    <a:pt x="21600" y="11880"/>
                  </a:cubicBezTo>
                  <a:cubicBezTo>
                    <a:pt x="21600" y="9600"/>
                    <a:pt x="21600" y="9600"/>
                    <a:pt x="21600" y="9600"/>
                  </a:cubicBezTo>
                  <a:cubicBezTo>
                    <a:pt x="21600" y="9240"/>
                    <a:pt x="21600" y="9120"/>
                    <a:pt x="18657" y="8040"/>
                  </a:cubicBezTo>
                  <a:close/>
                  <a:moveTo>
                    <a:pt x="10771" y="14580"/>
                  </a:moveTo>
                  <a:cubicBezTo>
                    <a:pt x="8711" y="14580"/>
                    <a:pt x="7004" y="12900"/>
                    <a:pt x="7004" y="10800"/>
                  </a:cubicBezTo>
                  <a:cubicBezTo>
                    <a:pt x="7004" y="8700"/>
                    <a:pt x="8711" y="7020"/>
                    <a:pt x="10771" y="7020"/>
                  </a:cubicBezTo>
                  <a:cubicBezTo>
                    <a:pt x="12889" y="7020"/>
                    <a:pt x="14596" y="8700"/>
                    <a:pt x="14596" y="10800"/>
                  </a:cubicBezTo>
                  <a:cubicBezTo>
                    <a:pt x="14596" y="12900"/>
                    <a:pt x="12889" y="14580"/>
                    <a:pt x="10771" y="14580"/>
                  </a:cubicBezTo>
                  <a:close/>
                  <a:moveTo>
                    <a:pt x="10771" y="14580"/>
                  </a:moveTo>
                  <a:cubicBezTo>
                    <a:pt x="10771" y="14580"/>
                    <a:pt x="10771" y="14580"/>
                    <a:pt x="10771" y="14580"/>
                  </a:cubicBezTo>
                </a:path>
              </a:pathLst>
            </a:custGeom>
            <a:solidFill>
              <a:srgbClr val="00B39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0A6E8C6A-15E2-486D-B72E-9CD6E3767545}"/>
                </a:ext>
              </a:extLst>
            </p:cNvPr>
            <p:cNvSpPr/>
            <p:nvPr/>
          </p:nvSpPr>
          <p:spPr>
            <a:xfrm>
              <a:off x="486321" y="1891413"/>
              <a:ext cx="620280" cy="6086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95" y="8028"/>
                  </a:moveTo>
                  <a:cubicBezTo>
                    <a:pt x="18313" y="7168"/>
                    <a:pt x="18313" y="7168"/>
                    <a:pt x="18313" y="7168"/>
                  </a:cubicBezTo>
                  <a:cubicBezTo>
                    <a:pt x="19534" y="4301"/>
                    <a:pt x="19440" y="4205"/>
                    <a:pt x="19158" y="3919"/>
                  </a:cubicBezTo>
                  <a:cubicBezTo>
                    <a:pt x="17562" y="2389"/>
                    <a:pt x="17562" y="2389"/>
                    <a:pt x="17562" y="2389"/>
                  </a:cubicBezTo>
                  <a:cubicBezTo>
                    <a:pt x="17468" y="2198"/>
                    <a:pt x="17468" y="2198"/>
                    <a:pt x="17468" y="2198"/>
                  </a:cubicBezTo>
                  <a:cubicBezTo>
                    <a:pt x="17280" y="2198"/>
                    <a:pt x="17280" y="2198"/>
                    <a:pt x="17280" y="2198"/>
                  </a:cubicBezTo>
                  <a:cubicBezTo>
                    <a:pt x="17186" y="2198"/>
                    <a:pt x="16810" y="2198"/>
                    <a:pt x="14369" y="3345"/>
                  </a:cubicBezTo>
                  <a:cubicBezTo>
                    <a:pt x="13523" y="2963"/>
                    <a:pt x="13523" y="2963"/>
                    <a:pt x="13523" y="2963"/>
                  </a:cubicBezTo>
                  <a:cubicBezTo>
                    <a:pt x="12303" y="0"/>
                    <a:pt x="12209" y="0"/>
                    <a:pt x="11927" y="0"/>
                  </a:cubicBezTo>
                  <a:cubicBezTo>
                    <a:pt x="9579" y="0"/>
                    <a:pt x="9579" y="0"/>
                    <a:pt x="9579" y="0"/>
                  </a:cubicBezTo>
                  <a:cubicBezTo>
                    <a:pt x="9297" y="0"/>
                    <a:pt x="9110" y="0"/>
                    <a:pt x="8077" y="2963"/>
                  </a:cubicBezTo>
                  <a:cubicBezTo>
                    <a:pt x="7137" y="3345"/>
                    <a:pt x="7137" y="3345"/>
                    <a:pt x="7137" y="3345"/>
                  </a:cubicBezTo>
                  <a:cubicBezTo>
                    <a:pt x="5541" y="2676"/>
                    <a:pt x="4508" y="2294"/>
                    <a:pt x="4320" y="2294"/>
                  </a:cubicBezTo>
                  <a:cubicBezTo>
                    <a:pt x="4038" y="2294"/>
                    <a:pt x="4038" y="2294"/>
                    <a:pt x="4038" y="2294"/>
                  </a:cubicBezTo>
                  <a:cubicBezTo>
                    <a:pt x="2348" y="4014"/>
                    <a:pt x="2348" y="4014"/>
                    <a:pt x="2348" y="4014"/>
                  </a:cubicBezTo>
                  <a:cubicBezTo>
                    <a:pt x="2066" y="4301"/>
                    <a:pt x="1972" y="4396"/>
                    <a:pt x="3287" y="7168"/>
                  </a:cubicBezTo>
                  <a:cubicBezTo>
                    <a:pt x="2911" y="8124"/>
                    <a:pt x="2911" y="8124"/>
                    <a:pt x="2911" y="8124"/>
                  </a:cubicBezTo>
                  <a:cubicBezTo>
                    <a:pt x="0" y="9271"/>
                    <a:pt x="0" y="9366"/>
                    <a:pt x="0" y="9749"/>
                  </a:cubicBezTo>
                  <a:cubicBezTo>
                    <a:pt x="0" y="11947"/>
                    <a:pt x="0" y="11947"/>
                    <a:pt x="0" y="11947"/>
                  </a:cubicBezTo>
                  <a:cubicBezTo>
                    <a:pt x="0" y="12329"/>
                    <a:pt x="0" y="12425"/>
                    <a:pt x="3005" y="13572"/>
                  </a:cubicBezTo>
                  <a:cubicBezTo>
                    <a:pt x="3287" y="14432"/>
                    <a:pt x="3287" y="14432"/>
                    <a:pt x="3287" y="14432"/>
                  </a:cubicBezTo>
                  <a:cubicBezTo>
                    <a:pt x="2066" y="17299"/>
                    <a:pt x="2160" y="17395"/>
                    <a:pt x="2442" y="17681"/>
                  </a:cubicBezTo>
                  <a:cubicBezTo>
                    <a:pt x="4038" y="19211"/>
                    <a:pt x="4038" y="19211"/>
                    <a:pt x="4038" y="19211"/>
                  </a:cubicBezTo>
                  <a:cubicBezTo>
                    <a:pt x="4132" y="19402"/>
                    <a:pt x="4132" y="19402"/>
                    <a:pt x="4132" y="19402"/>
                  </a:cubicBezTo>
                  <a:cubicBezTo>
                    <a:pt x="4320" y="19402"/>
                    <a:pt x="4320" y="19402"/>
                    <a:pt x="4320" y="19402"/>
                  </a:cubicBezTo>
                  <a:cubicBezTo>
                    <a:pt x="4414" y="19402"/>
                    <a:pt x="4696" y="19402"/>
                    <a:pt x="7231" y="18255"/>
                  </a:cubicBezTo>
                  <a:cubicBezTo>
                    <a:pt x="8077" y="18637"/>
                    <a:pt x="8077" y="18637"/>
                    <a:pt x="8077" y="18637"/>
                  </a:cubicBezTo>
                  <a:cubicBezTo>
                    <a:pt x="9297" y="21600"/>
                    <a:pt x="9391" y="21600"/>
                    <a:pt x="9673" y="21600"/>
                  </a:cubicBezTo>
                  <a:cubicBezTo>
                    <a:pt x="12021" y="21600"/>
                    <a:pt x="12021" y="21600"/>
                    <a:pt x="12021" y="21600"/>
                  </a:cubicBezTo>
                  <a:cubicBezTo>
                    <a:pt x="12303" y="21600"/>
                    <a:pt x="12490" y="21600"/>
                    <a:pt x="13523" y="18637"/>
                  </a:cubicBezTo>
                  <a:cubicBezTo>
                    <a:pt x="14463" y="18255"/>
                    <a:pt x="14463" y="18255"/>
                    <a:pt x="14463" y="18255"/>
                  </a:cubicBezTo>
                  <a:cubicBezTo>
                    <a:pt x="16059" y="18924"/>
                    <a:pt x="17092" y="19306"/>
                    <a:pt x="17280" y="19306"/>
                  </a:cubicBezTo>
                  <a:cubicBezTo>
                    <a:pt x="17562" y="19306"/>
                    <a:pt x="17562" y="19306"/>
                    <a:pt x="17562" y="19306"/>
                  </a:cubicBezTo>
                  <a:cubicBezTo>
                    <a:pt x="19252" y="17586"/>
                    <a:pt x="19252" y="17586"/>
                    <a:pt x="19252" y="17586"/>
                  </a:cubicBezTo>
                  <a:cubicBezTo>
                    <a:pt x="19534" y="17299"/>
                    <a:pt x="19628" y="17204"/>
                    <a:pt x="18313" y="14432"/>
                  </a:cubicBezTo>
                  <a:cubicBezTo>
                    <a:pt x="18689" y="13476"/>
                    <a:pt x="18689" y="13476"/>
                    <a:pt x="18689" y="13476"/>
                  </a:cubicBezTo>
                  <a:cubicBezTo>
                    <a:pt x="21600" y="12329"/>
                    <a:pt x="21600" y="12234"/>
                    <a:pt x="21600" y="11851"/>
                  </a:cubicBezTo>
                  <a:cubicBezTo>
                    <a:pt x="21600" y="9653"/>
                    <a:pt x="21600" y="9653"/>
                    <a:pt x="21600" y="9653"/>
                  </a:cubicBezTo>
                  <a:cubicBezTo>
                    <a:pt x="21600" y="9271"/>
                    <a:pt x="21600" y="9175"/>
                    <a:pt x="18595" y="8028"/>
                  </a:cubicBezTo>
                  <a:close/>
                  <a:moveTo>
                    <a:pt x="10800" y="14527"/>
                  </a:moveTo>
                  <a:cubicBezTo>
                    <a:pt x="8734" y="14527"/>
                    <a:pt x="7043" y="12903"/>
                    <a:pt x="7043" y="10800"/>
                  </a:cubicBezTo>
                  <a:cubicBezTo>
                    <a:pt x="7043" y="8697"/>
                    <a:pt x="8734" y="7073"/>
                    <a:pt x="10800" y="7073"/>
                  </a:cubicBezTo>
                  <a:cubicBezTo>
                    <a:pt x="12866" y="7073"/>
                    <a:pt x="14557" y="8697"/>
                    <a:pt x="14557" y="10800"/>
                  </a:cubicBezTo>
                  <a:cubicBezTo>
                    <a:pt x="14557" y="12903"/>
                    <a:pt x="12866" y="14527"/>
                    <a:pt x="10800" y="14527"/>
                  </a:cubicBezTo>
                  <a:close/>
                  <a:moveTo>
                    <a:pt x="10800" y="14527"/>
                  </a:moveTo>
                  <a:cubicBezTo>
                    <a:pt x="10800" y="14527"/>
                    <a:pt x="10800" y="14527"/>
                    <a:pt x="10800" y="14527"/>
                  </a:cubicBezTo>
                </a:path>
              </a:pathLst>
            </a:cu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E2F1BBDB-E814-4C0D-AF59-D1E4924B637D}"/>
                </a:ext>
              </a:extLst>
            </p:cNvPr>
            <p:cNvSpPr/>
            <p:nvPr/>
          </p:nvSpPr>
          <p:spPr>
            <a:xfrm>
              <a:off x="1786578" y="717834"/>
              <a:ext cx="496516" cy="4877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65" y="8115"/>
                  </a:moveTo>
                  <a:cubicBezTo>
                    <a:pt x="18313" y="7160"/>
                    <a:pt x="18313" y="7160"/>
                    <a:pt x="18313" y="7160"/>
                  </a:cubicBezTo>
                  <a:cubicBezTo>
                    <a:pt x="19604" y="4296"/>
                    <a:pt x="19487" y="4177"/>
                    <a:pt x="19252" y="3938"/>
                  </a:cubicBezTo>
                  <a:cubicBezTo>
                    <a:pt x="17609" y="2387"/>
                    <a:pt x="17609" y="2387"/>
                    <a:pt x="17609" y="2387"/>
                  </a:cubicBezTo>
                  <a:cubicBezTo>
                    <a:pt x="17491" y="2267"/>
                    <a:pt x="17491" y="2267"/>
                    <a:pt x="17491" y="2267"/>
                  </a:cubicBezTo>
                  <a:cubicBezTo>
                    <a:pt x="17257" y="2267"/>
                    <a:pt x="17257" y="2267"/>
                    <a:pt x="17257" y="2267"/>
                  </a:cubicBezTo>
                  <a:cubicBezTo>
                    <a:pt x="17139" y="2267"/>
                    <a:pt x="16904" y="2267"/>
                    <a:pt x="14439" y="3341"/>
                  </a:cubicBezTo>
                  <a:cubicBezTo>
                    <a:pt x="13500" y="2983"/>
                    <a:pt x="13500" y="2983"/>
                    <a:pt x="13500" y="2983"/>
                  </a:cubicBezTo>
                  <a:cubicBezTo>
                    <a:pt x="12326" y="0"/>
                    <a:pt x="12209" y="0"/>
                    <a:pt x="11857" y="0"/>
                  </a:cubicBezTo>
                  <a:cubicBezTo>
                    <a:pt x="9626" y="0"/>
                    <a:pt x="9626" y="0"/>
                    <a:pt x="9626" y="0"/>
                  </a:cubicBezTo>
                  <a:cubicBezTo>
                    <a:pt x="9274" y="0"/>
                    <a:pt x="9157" y="0"/>
                    <a:pt x="8100" y="2983"/>
                  </a:cubicBezTo>
                  <a:cubicBezTo>
                    <a:pt x="7161" y="3341"/>
                    <a:pt x="7161" y="3341"/>
                    <a:pt x="7161" y="3341"/>
                  </a:cubicBezTo>
                  <a:cubicBezTo>
                    <a:pt x="5517" y="2625"/>
                    <a:pt x="4578" y="2267"/>
                    <a:pt x="4343" y="2267"/>
                  </a:cubicBezTo>
                  <a:cubicBezTo>
                    <a:pt x="4109" y="2267"/>
                    <a:pt x="4109" y="2267"/>
                    <a:pt x="4109" y="2267"/>
                  </a:cubicBezTo>
                  <a:cubicBezTo>
                    <a:pt x="2348" y="4057"/>
                    <a:pt x="2348" y="4057"/>
                    <a:pt x="2348" y="4057"/>
                  </a:cubicBezTo>
                  <a:cubicBezTo>
                    <a:pt x="2113" y="4296"/>
                    <a:pt x="1996" y="4415"/>
                    <a:pt x="3287" y="7280"/>
                  </a:cubicBezTo>
                  <a:cubicBezTo>
                    <a:pt x="2935" y="8115"/>
                    <a:pt x="2935" y="8115"/>
                    <a:pt x="2935" y="8115"/>
                  </a:cubicBezTo>
                  <a:cubicBezTo>
                    <a:pt x="0" y="9308"/>
                    <a:pt x="0" y="9428"/>
                    <a:pt x="0" y="9786"/>
                  </a:cubicBezTo>
                  <a:cubicBezTo>
                    <a:pt x="0" y="12053"/>
                    <a:pt x="0" y="12053"/>
                    <a:pt x="0" y="12053"/>
                  </a:cubicBezTo>
                  <a:cubicBezTo>
                    <a:pt x="0" y="12411"/>
                    <a:pt x="0" y="12530"/>
                    <a:pt x="2935" y="13604"/>
                  </a:cubicBezTo>
                  <a:cubicBezTo>
                    <a:pt x="3287" y="14440"/>
                    <a:pt x="3287" y="14440"/>
                    <a:pt x="3287" y="14440"/>
                  </a:cubicBezTo>
                  <a:cubicBezTo>
                    <a:pt x="2113" y="17304"/>
                    <a:pt x="2113" y="17423"/>
                    <a:pt x="2348" y="17662"/>
                  </a:cubicBezTo>
                  <a:cubicBezTo>
                    <a:pt x="3991" y="19333"/>
                    <a:pt x="3991" y="19333"/>
                    <a:pt x="3991" y="19333"/>
                  </a:cubicBezTo>
                  <a:cubicBezTo>
                    <a:pt x="4109" y="19452"/>
                    <a:pt x="4109" y="19452"/>
                    <a:pt x="4109" y="19452"/>
                  </a:cubicBezTo>
                  <a:cubicBezTo>
                    <a:pt x="4343" y="19452"/>
                    <a:pt x="4343" y="19452"/>
                    <a:pt x="4343" y="19452"/>
                  </a:cubicBezTo>
                  <a:cubicBezTo>
                    <a:pt x="4461" y="19452"/>
                    <a:pt x="4696" y="19452"/>
                    <a:pt x="7161" y="18259"/>
                  </a:cubicBezTo>
                  <a:cubicBezTo>
                    <a:pt x="8100" y="18617"/>
                    <a:pt x="8100" y="18617"/>
                    <a:pt x="8100" y="18617"/>
                  </a:cubicBezTo>
                  <a:cubicBezTo>
                    <a:pt x="9274" y="21600"/>
                    <a:pt x="9391" y="21600"/>
                    <a:pt x="9743" y="21600"/>
                  </a:cubicBezTo>
                  <a:cubicBezTo>
                    <a:pt x="11974" y="21600"/>
                    <a:pt x="11974" y="21600"/>
                    <a:pt x="11974" y="21600"/>
                  </a:cubicBezTo>
                  <a:cubicBezTo>
                    <a:pt x="12326" y="21600"/>
                    <a:pt x="12443" y="21600"/>
                    <a:pt x="13500" y="18617"/>
                  </a:cubicBezTo>
                  <a:cubicBezTo>
                    <a:pt x="14439" y="18259"/>
                    <a:pt x="14439" y="18259"/>
                    <a:pt x="14439" y="18259"/>
                  </a:cubicBezTo>
                  <a:cubicBezTo>
                    <a:pt x="16083" y="18975"/>
                    <a:pt x="17022" y="19333"/>
                    <a:pt x="17374" y="19333"/>
                  </a:cubicBezTo>
                  <a:cubicBezTo>
                    <a:pt x="17609" y="19333"/>
                    <a:pt x="17609" y="19333"/>
                    <a:pt x="17609" y="19333"/>
                  </a:cubicBezTo>
                  <a:cubicBezTo>
                    <a:pt x="19252" y="17662"/>
                    <a:pt x="19252" y="17662"/>
                    <a:pt x="19252" y="17662"/>
                  </a:cubicBezTo>
                  <a:cubicBezTo>
                    <a:pt x="19604" y="17304"/>
                    <a:pt x="19604" y="17304"/>
                    <a:pt x="18313" y="14440"/>
                  </a:cubicBezTo>
                  <a:cubicBezTo>
                    <a:pt x="18665" y="13485"/>
                    <a:pt x="18665" y="13485"/>
                    <a:pt x="18665" y="13485"/>
                  </a:cubicBezTo>
                  <a:cubicBezTo>
                    <a:pt x="21600" y="12411"/>
                    <a:pt x="21600" y="12292"/>
                    <a:pt x="21600" y="11934"/>
                  </a:cubicBezTo>
                  <a:cubicBezTo>
                    <a:pt x="21600" y="9666"/>
                    <a:pt x="21600" y="9666"/>
                    <a:pt x="21600" y="9666"/>
                  </a:cubicBezTo>
                  <a:cubicBezTo>
                    <a:pt x="21600" y="9308"/>
                    <a:pt x="21600" y="9189"/>
                    <a:pt x="18665" y="8115"/>
                  </a:cubicBezTo>
                  <a:close/>
                  <a:moveTo>
                    <a:pt x="10800" y="14559"/>
                  </a:moveTo>
                  <a:cubicBezTo>
                    <a:pt x="8687" y="14559"/>
                    <a:pt x="7043" y="12888"/>
                    <a:pt x="7043" y="10860"/>
                  </a:cubicBezTo>
                  <a:cubicBezTo>
                    <a:pt x="7043" y="8712"/>
                    <a:pt x="8687" y="7041"/>
                    <a:pt x="10800" y="7041"/>
                  </a:cubicBezTo>
                  <a:cubicBezTo>
                    <a:pt x="12913" y="7041"/>
                    <a:pt x="14557" y="8712"/>
                    <a:pt x="14557" y="10860"/>
                  </a:cubicBezTo>
                  <a:cubicBezTo>
                    <a:pt x="14557" y="12888"/>
                    <a:pt x="12913" y="14559"/>
                    <a:pt x="10800" y="14559"/>
                  </a:cubicBezTo>
                  <a:close/>
                  <a:moveTo>
                    <a:pt x="10800" y="14559"/>
                  </a:moveTo>
                  <a:cubicBezTo>
                    <a:pt x="10800" y="14559"/>
                    <a:pt x="10800" y="14559"/>
                    <a:pt x="10800" y="14559"/>
                  </a:cubicBezTo>
                </a:path>
              </a:pathLst>
            </a:custGeom>
            <a:solidFill>
              <a:srgbClr val="F6883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1F309545-B8B5-4029-A70D-D81FD8D536CC}"/>
                </a:ext>
              </a:extLst>
            </p:cNvPr>
            <p:cNvSpPr/>
            <p:nvPr/>
          </p:nvSpPr>
          <p:spPr>
            <a:xfrm>
              <a:off x="272282" y="315963"/>
              <a:ext cx="477587" cy="4659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1" y="7991"/>
                  </a:moveTo>
                  <a:cubicBezTo>
                    <a:pt x="18305" y="7117"/>
                    <a:pt x="18305" y="7117"/>
                    <a:pt x="18305" y="7117"/>
                  </a:cubicBezTo>
                  <a:cubicBezTo>
                    <a:pt x="19525" y="4245"/>
                    <a:pt x="19403" y="4120"/>
                    <a:pt x="19159" y="3871"/>
                  </a:cubicBezTo>
                  <a:cubicBezTo>
                    <a:pt x="17573" y="2247"/>
                    <a:pt x="17573" y="2247"/>
                    <a:pt x="17573" y="2247"/>
                  </a:cubicBezTo>
                  <a:cubicBezTo>
                    <a:pt x="17451" y="2123"/>
                    <a:pt x="17451" y="2123"/>
                    <a:pt x="17451" y="2123"/>
                  </a:cubicBezTo>
                  <a:cubicBezTo>
                    <a:pt x="17207" y="2123"/>
                    <a:pt x="17207" y="2123"/>
                    <a:pt x="17207" y="2123"/>
                  </a:cubicBezTo>
                  <a:cubicBezTo>
                    <a:pt x="17207" y="2123"/>
                    <a:pt x="16841" y="2123"/>
                    <a:pt x="14400" y="3246"/>
                  </a:cubicBezTo>
                  <a:cubicBezTo>
                    <a:pt x="13546" y="2872"/>
                    <a:pt x="13546" y="2872"/>
                    <a:pt x="13546" y="2872"/>
                  </a:cubicBezTo>
                  <a:cubicBezTo>
                    <a:pt x="12325" y="0"/>
                    <a:pt x="12203" y="0"/>
                    <a:pt x="11837" y="0"/>
                  </a:cubicBezTo>
                  <a:cubicBezTo>
                    <a:pt x="9641" y="0"/>
                    <a:pt x="9641" y="0"/>
                    <a:pt x="9641" y="0"/>
                  </a:cubicBezTo>
                  <a:cubicBezTo>
                    <a:pt x="9275" y="0"/>
                    <a:pt x="9153" y="0"/>
                    <a:pt x="8054" y="2872"/>
                  </a:cubicBezTo>
                  <a:cubicBezTo>
                    <a:pt x="7200" y="3246"/>
                    <a:pt x="7200" y="3246"/>
                    <a:pt x="7200" y="3246"/>
                  </a:cubicBezTo>
                  <a:cubicBezTo>
                    <a:pt x="5492" y="2622"/>
                    <a:pt x="4515" y="2247"/>
                    <a:pt x="4271" y="2247"/>
                  </a:cubicBezTo>
                  <a:cubicBezTo>
                    <a:pt x="4027" y="2247"/>
                    <a:pt x="4027" y="2247"/>
                    <a:pt x="4027" y="2247"/>
                  </a:cubicBezTo>
                  <a:cubicBezTo>
                    <a:pt x="2319" y="3995"/>
                    <a:pt x="2319" y="3995"/>
                    <a:pt x="2319" y="3995"/>
                  </a:cubicBezTo>
                  <a:cubicBezTo>
                    <a:pt x="2075" y="4245"/>
                    <a:pt x="1953" y="4245"/>
                    <a:pt x="3295" y="7117"/>
                  </a:cubicBezTo>
                  <a:cubicBezTo>
                    <a:pt x="2929" y="8116"/>
                    <a:pt x="2929" y="8116"/>
                    <a:pt x="2929" y="8116"/>
                  </a:cubicBezTo>
                  <a:cubicBezTo>
                    <a:pt x="0" y="9239"/>
                    <a:pt x="0" y="9364"/>
                    <a:pt x="0" y="9739"/>
                  </a:cubicBezTo>
                  <a:cubicBezTo>
                    <a:pt x="0" y="11986"/>
                    <a:pt x="0" y="11986"/>
                    <a:pt x="0" y="11986"/>
                  </a:cubicBezTo>
                  <a:cubicBezTo>
                    <a:pt x="0" y="12361"/>
                    <a:pt x="0" y="12486"/>
                    <a:pt x="2929" y="13609"/>
                  </a:cubicBezTo>
                  <a:cubicBezTo>
                    <a:pt x="3295" y="14483"/>
                    <a:pt x="3295" y="14483"/>
                    <a:pt x="3295" y="14483"/>
                  </a:cubicBezTo>
                  <a:cubicBezTo>
                    <a:pt x="2075" y="17355"/>
                    <a:pt x="2075" y="17480"/>
                    <a:pt x="2319" y="17729"/>
                  </a:cubicBezTo>
                  <a:cubicBezTo>
                    <a:pt x="4027" y="19353"/>
                    <a:pt x="4027" y="19353"/>
                    <a:pt x="4027" y="19353"/>
                  </a:cubicBezTo>
                  <a:cubicBezTo>
                    <a:pt x="4149" y="19477"/>
                    <a:pt x="4149" y="19477"/>
                    <a:pt x="4149" y="19477"/>
                  </a:cubicBezTo>
                  <a:cubicBezTo>
                    <a:pt x="4271" y="19477"/>
                    <a:pt x="4271" y="19477"/>
                    <a:pt x="4271" y="19477"/>
                  </a:cubicBezTo>
                  <a:cubicBezTo>
                    <a:pt x="4393" y="19477"/>
                    <a:pt x="4759" y="19477"/>
                    <a:pt x="7200" y="18354"/>
                  </a:cubicBezTo>
                  <a:cubicBezTo>
                    <a:pt x="8054" y="18728"/>
                    <a:pt x="8054" y="18728"/>
                    <a:pt x="8054" y="18728"/>
                  </a:cubicBezTo>
                  <a:cubicBezTo>
                    <a:pt x="9275" y="21600"/>
                    <a:pt x="9397" y="21600"/>
                    <a:pt x="9641" y="21600"/>
                  </a:cubicBezTo>
                  <a:cubicBezTo>
                    <a:pt x="11959" y="21600"/>
                    <a:pt x="11959" y="21600"/>
                    <a:pt x="11959" y="21600"/>
                  </a:cubicBezTo>
                  <a:cubicBezTo>
                    <a:pt x="12325" y="21600"/>
                    <a:pt x="12447" y="21600"/>
                    <a:pt x="13546" y="18728"/>
                  </a:cubicBezTo>
                  <a:cubicBezTo>
                    <a:pt x="14400" y="18354"/>
                    <a:pt x="14400" y="18354"/>
                    <a:pt x="14400" y="18354"/>
                  </a:cubicBezTo>
                  <a:cubicBezTo>
                    <a:pt x="16108" y="18978"/>
                    <a:pt x="17085" y="19353"/>
                    <a:pt x="17329" y="19353"/>
                  </a:cubicBezTo>
                  <a:cubicBezTo>
                    <a:pt x="17573" y="19353"/>
                    <a:pt x="17573" y="19353"/>
                    <a:pt x="17573" y="19353"/>
                  </a:cubicBezTo>
                  <a:cubicBezTo>
                    <a:pt x="19281" y="17605"/>
                    <a:pt x="19281" y="17605"/>
                    <a:pt x="19281" y="17605"/>
                  </a:cubicBezTo>
                  <a:cubicBezTo>
                    <a:pt x="19525" y="17355"/>
                    <a:pt x="19647" y="17230"/>
                    <a:pt x="18305" y="14483"/>
                  </a:cubicBezTo>
                  <a:cubicBezTo>
                    <a:pt x="18671" y="13484"/>
                    <a:pt x="18671" y="13484"/>
                    <a:pt x="18671" y="13484"/>
                  </a:cubicBezTo>
                  <a:cubicBezTo>
                    <a:pt x="21600" y="12361"/>
                    <a:pt x="21600" y="12236"/>
                    <a:pt x="21600" y="11861"/>
                  </a:cubicBezTo>
                  <a:cubicBezTo>
                    <a:pt x="21600" y="9614"/>
                    <a:pt x="21600" y="9614"/>
                    <a:pt x="21600" y="9614"/>
                  </a:cubicBezTo>
                  <a:cubicBezTo>
                    <a:pt x="21600" y="9239"/>
                    <a:pt x="21600" y="9114"/>
                    <a:pt x="18671" y="7991"/>
                  </a:cubicBezTo>
                  <a:close/>
                  <a:moveTo>
                    <a:pt x="10739" y="14608"/>
                  </a:moveTo>
                  <a:cubicBezTo>
                    <a:pt x="8664" y="14608"/>
                    <a:pt x="6956" y="12860"/>
                    <a:pt x="6956" y="10738"/>
                  </a:cubicBezTo>
                  <a:cubicBezTo>
                    <a:pt x="6956" y="8740"/>
                    <a:pt x="8664" y="6992"/>
                    <a:pt x="10739" y="6992"/>
                  </a:cubicBezTo>
                  <a:cubicBezTo>
                    <a:pt x="12814" y="6992"/>
                    <a:pt x="14522" y="8740"/>
                    <a:pt x="14522" y="10738"/>
                  </a:cubicBezTo>
                  <a:cubicBezTo>
                    <a:pt x="14522" y="12860"/>
                    <a:pt x="12814" y="14608"/>
                    <a:pt x="10739" y="14608"/>
                  </a:cubicBezTo>
                  <a:close/>
                  <a:moveTo>
                    <a:pt x="10739" y="14608"/>
                  </a:moveTo>
                  <a:cubicBezTo>
                    <a:pt x="10739" y="14608"/>
                    <a:pt x="10739" y="14608"/>
                    <a:pt x="10739" y="14608"/>
                  </a:cubicBezTo>
                </a:path>
              </a:pathLst>
            </a:custGeom>
            <a:solidFill>
              <a:srgbClr val="343E48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766DA84B-73B7-446F-BB1E-3CF1415E4BA0}"/>
                </a:ext>
              </a:extLst>
            </p:cNvPr>
            <p:cNvSpPr/>
            <p:nvPr/>
          </p:nvSpPr>
          <p:spPr>
            <a:xfrm>
              <a:off x="1065831" y="2249602"/>
              <a:ext cx="669786" cy="6523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39" y="8033"/>
                  </a:moveTo>
                  <a:cubicBezTo>
                    <a:pt x="18203" y="7140"/>
                    <a:pt x="18203" y="7140"/>
                    <a:pt x="18203" y="7140"/>
                  </a:cubicBezTo>
                  <a:cubicBezTo>
                    <a:pt x="19510" y="4195"/>
                    <a:pt x="19423" y="4106"/>
                    <a:pt x="19161" y="3927"/>
                  </a:cubicBezTo>
                  <a:cubicBezTo>
                    <a:pt x="17594" y="2321"/>
                    <a:pt x="17594" y="2321"/>
                    <a:pt x="17594" y="2321"/>
                  </a:cubicBezTo>
                  <a:cubicBezTo>
                    <a:pt x="17419" y="2142"/>
                    <a:pt x="17419" y="2142"/>
                    <a:pt x="17419" y="2142"/>
                  </a:cubicBezTo>
                  <a:cubicBezTo>
                    <a:pt x="17245" y="2142"/>
                    <a:pt x="17245" y="2142"/>
                    <a:pt x="17245" y="2142"/>
                  </a:cubicBezTo>
                  <a:cubicBezTo>
                    <a:pt x="17158" y="2142"/>
                    <a:pt x="16810" y="2142"/>
                    <a:pt x="14371" y="3302"/>
                  </a:cubicBezTo>
                  <a:cubicBezTo>
                    <a:pt x="13500" y="2945"/>
                    <a:pt x="13500" y="2945"/>
                    <a:pt x="13500" y="2945"/>
                  </a:cubicBezTo>
                  <a:cubicBezTo>
                    <a:pt x="12368" y="0"/>
                    <a:pt x="12194" y="0"/>
                    <a:pt x="11845" y="0"/>
                  </a:cubicBezTo>
                  <a:cubicBezTo>
                    <a:pt x="9581" y="0"/>
                    <a:pt x="9581" y="0"/>
                    <a:pt x="9581" y="0"/>
                  </a:cubicBezTo>
                  <a:cubicBezTo>
                    <a:pt x="9232" y="0"/>
                    <a:pt x="9145" y="0"/>
                    <a:pt x="8013" y="2945"/>
                  </a:cubicBezTo>
                  <a:cubicBezTo>
                    <a:pt x="7142" y="3302"/>
                    <a:pt x="7142" y="3302"/>
                    <a:pt x="7142" y="3302"/>
                  </a:cubicBezTo>
                  <a:cubicBezTo>
                    <a:pt x="5487" y="2588"/>
                    <a:pt x="4529" y="2231"/>
                    <a:pt x="4268" y="2231"/>
                  </a:cubicBezTo>
                  <a:cubicBezTo>
                    <a:pt x="4094" y="2231"/>
                    <a:pt x="4094" y="2231"/>
                    <a:pt x="4094" y="2231"/>
                  </a:cubicBezTo>
                  <a:cubicBezTo>
                    <a:pt x="2352" y="3927"/>
                    <a:pt x="2352" y="3927"/>
                    <a:pt x="2352" y="3927"/>
                  </a:cubicBezTo>
                  <a:cubicBezTo>
                    <a:pt x="2090" y="4195"/>
                    <a:pt x="2003" y="4284"/>
                    <a:pt x="3310" y="7140"/>
                  </a:cubicBezTo>
                  <a:cubicBezTo>
                    <a:pt x="2961" y="8033"/>
                    <a:pt x="2961" y="8033"/>
                    <a:pt x="2961" y="8033"/>
                  </a:cubicBezTo>
                  <a:cubicBezTo>
                    <a:pt x="0" y="9193"/>
                    <a:pt x="0" y="9372"/>
                    <a:pt x="0" y="9729"/>
                  </a:cubicBezTo>
                  <a:cubicBezTo>
                    <a:pt x="0" y="11960"/>
                    <a:pt x="0" y="11960"/>
                    <a:pt x="0" y="11960"/>
                  </a:cubicBezTo>
                  <a:cubicBezTo>
                    <a:pt x="0" y="12317"/>
                    <a:pt x="0" y="12407"/>
                    <a:pt x="2961" y="13567"/>
                  </a:cubicBezTo>
                  <a:cubicBezTo>
                    <a:pt x="3310" y="14460"/>
                    <a:pt x="3310" y="14460"/>
                    <a:pt x="3310" y="14460"/>
                  </a:cubicBezTo>
                  <a:cubicBezTo>
                    <a:pt x="2090" y="17316"/>
                    <a:pt x="2177" y="17405"/>
                    <a:pt x="2439" y="17673"/>
                  </a:cubicBezTo>
                  <a:cubicBezTo>
                    <a:pt x="4006" y="19279"/>
                    <a:pt x="4006" y="19279"/>
                    <a:pt x="4006" y="19279"/>
                  </a:cubicBezTo>
                  <a:cubicBezTo>
                    <a:pt x="4181" y="19458"/>
                    <a:pt x="4181" y="19458"/>
                    <a:pt x="4181" y="19458"/>
                  </a:cubicBezTo>
                  <a:cubicBezTo>
                    <a:pt x="4355" y="19458"/>
                    <a:pt x="4355" y="19458"/>
                    <a:pt x="4355" y="19458"/>
                  </a:cubicBezTo>
                  <a:cubicBezTo>
                    <a:pt x="4442" y="19458"/>
                    <a:pt x="4703" y="19458"/>
                    <a:pt x="7142" y="18298"/>
                  </a:cubicBezTo>
                  <a:cubicBezTo>
                    <a:pt x="8100" y="18655"/>
                    <a:pt x="8100" y="18655"/>
                    <a:pt x="8100" y="18655"/>
                  </a:cubicBezTo>
                  <a:cubicBezTo>
                    <a:pt x="9232" y="21600"/>
                    <a:pt x="9319" y="21600"/>
                    <a:pt x="9668" y="21600"/>
                  </a:cubicBezTo>
                  <a:cubicBezTo>
                    <a:pt x="11932" y="21600"/>
                    <a:pt x="11932" y="21600"/>
                    <a:pt x="11932" y="21600"/>
                  </a:cubicBezTo>
                  <a:cubicBezTo>
                    <a:pt x="12281" y="21600"/>
                    <a:pt x="12455" y="21600"/>
                    <a:pt x="13500" y="18655"/>
                  </a:cubicBezTo>
                  <a:cubicBezTo>
                    <a:pt x="14371" y="18298"/>
                    <a:pt x="14371" y="18298"/>
                    <a:pt x="14371" y="18298"/>
                  </a:cubicBezTo>
                  <a:cubicBezTo>
                    <a:pt x="16026" y="19012"/>
                    <a:pt x="16984" y="19369"/>
                    <a:pt x="17245" y="19369"/>
                  </a:cubicBezTo>
                  <a:cubicBezTo>
                    <a:pt x="17506" y="19369"/>
                    <a:pt x="17506" y="19369"/>
                    <a:pt x="17506" y="19369"/>
                  </a:cubicBezTo>
                  <a:cubicBezTo>
                    <a:pt x="19248" y="17583"/>
                    <a:pt x="19248" y="17583"/>
                    <a:pt x="19248" y="17583"/>
                  </a:cubicBezTo>
                  <a:cubicBezTo>
                    <a:pt x="19510" y="17316"/>
                    <a:pt x="19597" y="17226"/>
                    <a:pt x="18290" y="14370"/>
                  </a:cubicBezTo>
                  <a:cubicBezTo>
                    <a:pt x="18639" y="13478"/>
                    <a:pt x="18639" y="13478"/>
                    <a:pt x="18639" y="13478"/>
                  </a:cubicBezTo>
                  <a:cubicBezTo>
                    <a:pt x="21600" y="12317"/>
                    <a:pt x="21600" y="12228"/>
                    <a:pt x="21600" y="11871"/>
                  </a:cubicBezTo>
                  <a:cubicBezTo>
                    <a:pt x="21600" y="9550"/>
                    <a:pt x="21600" y="9550"/>
                    <a:pt x="21600" y="9550"/>
                  </a:cubicBezTo>
                  <a:cubicBezTo>
                    <a:pt x="21600" y="9193"/>
                    <a:pt x="21600" y="9104"/>
                    <a:pt x="18639" y="8033"/>
                  </a:cubicBezTo>
                  <a:close/>
                  <a:moveTo>
                    <a:pt x="10800" y="14549"/>
                  </a:moveTo>
                  <a:cubicBezTo>
                    <a:pt x="8710" y="14549"/>
                    <a:pt x="7055" y="12853"/>
                    <a:pt x="7055" y="10800"/>
                  </a:cubicBezTo>
                  <a:cubicBezTo>
                    <a:pt x="7055" y="8658"/>
                    <a:pt x="8710" y="6962"/>
                    <a:pt x="10800" y="6962"/>
                  </a:cubicBezTo>
                  <a:cubicBezTo>
                    <a:pt x="12890" y="6962"/>
                    <a:pt x="14545" y="8658"/>
                    <a:pt x="14545" y="10800"/>
                  </a:cubicBezTo>
                  <a:cubicBezTo>
                    <a:pt x="14545" y="12853"/>
                    <a:pt x="12890" y="14549"/>
                    <a:pt x="10800" y="14549"/>
                  </a:cubicBezTo>
                  <a:close/>
                  <a:moveTo>
                    <a:pt x="10800" y="14549"/>
                  </a:moveTo>
                  <a:cubicBezTo>
                    <a:pt x="10800" y="14549"/>
                    <a:pt x="10800" y="14549"/>
                    <a:pt x="10800" y="14549"/>
                  </a:cubicBezTo>
                </a:path>
              </a:pathLst>
            </a:custGeom>
            <a:solidFill>
              <a:srgbClr val="F61A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7A748FB3-65A3-4827-8A25-ED46372E2772}"/>
                </a:ext>
              </a:extLst>
            </p:cNvPr>
            <p:cNvSpPr/>
            <p:nvPr/>
          </p:nvSpPr>
          <p:spPr>
            <a:xfrm>
              <a:off x="634839" y="2597598"/>
              <a:ext cx="323245" cy="3188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20" y="8054"/>
                  </a:moveTo>
                  <a:cubicBezTo>
                    <a:pt x="18360" y="7139"/>
                    <a:pt x="18360" y="7139"/>
                    <a:pt x="18360" y="7139"/>
                  </a:cubicBezTo>
                  <a:cubicBezTo>
                    <a:pt x="19620" y="4210"/>
                    <a:pt x="19440" y="4210"/>
                    <a:pt x="19260" y="3844"/>
                  </a:cubicBezTo>
                  <a:cubicBezTo>
                    <a:pt x="17640" y="2380"/>
                    <a:pt x="17640" y="2380"/>
                    <a:pt x="17640" y="2380"/>
                  </a:cubicBezTo>
                  <a:cubicBezTo>
                    <a:pt x="17460" y="2197"/>
                    <a:pt x="17460" y="2197"/>
                    <a:pt x="17460" y="2197"/>
                  </a:cubicBezTo>
                  <a:cubicBezTo>
                    <a:pt x="17280" y="2197"/>
                    <a:pt x="17280" y="2197"/>
                    <a:pt x="17280" y="2197"/>
                  </a:cubicBezTo>
                  <a:cubicBezTo>
                    <a:pt x="17100" y="2197"/>
                    <a:pt x="16920" y="2197"/>
                    <a:pt x="14400" y="3295"/>
                  </a:cubicBezTo>
                  <a:cubicBezTo>
                    <a:pt x="13500" y="2929"/>
                    <a:pt x="13500" y="2929"/>
                    <a:pt x="13500" y="2929"/>
                  </a:cubicBezTo>
                  <a:cubicBezTo>
                    <a:pt x="12420" y="0"/>
                    <a:pt x="12240" y="0"/>
                    <a:pt x="11880" y="0"/>
                  </a:cubicBezTo>
                  <a:cubicBezTo>
                    <a:pt x="9540" y="0"/>
                    <a:pt x="9540" y="0"/>
                    <a:pt x="9540" y="0"/>
                  </a:cubicBezTo>
                  <a:cubicBezTo>
                    <a:pt x="9360" y="0"/>
                    <a:pt x="9180" y="0"/>
                    <a:pt x="8100" y="2929"/>
                  </a:cubicBezTo>
                  <a:cubicBezTo>
                    <a:pt x="7200" y="3295"/>
                    <a:pt x="7200" y="3295"/>
                    <a:pt x="7200" y="3295"/>
                  </a:cubicBezTo>
                  <a:cubicBezTo>
                    <a:pt x="5580" y="2563"/>
                    <a:pt x="4500" y="2197"/>
                    <a:pt x="4320" y="2197"/>
                  </a:cubicBezTo>
                  <a:cubicBezTo>
                    <a:pt x="4140" y="2197"/>
                    <a:pt x="4140" y="2197"/>
                    <a:pt x="4140" y="2197"/>
                  </a:cubicBezTo>
                  <a:cubicBezTo>
                    <a:pt x="2340" y="4027"/>
                    <a:pt x="2340" y="4027"/>
                    <a:pt x="2340" y="4027"/>
                  </a:cubicBezTo>
                  <a:cubicBezTo>
                    <a:pt x="2160" y="4210"/>
                    <a:pt x="1980" y="4393"/>
                    <a:pt x="3240" y="7139"/>
                  </a:cubicBezTo>
                  <a:cubicBezTo>
                    <a:pt x="2880" y="8054"/>
                    <a:pt x="2880" y="8054"/>
                    <a:pt x="2880" y="8054"/>
                  </a:cubicBezTo>
                  <a:cubicBezTo>
                    <a:pt x="0" y="9153"/>
                    <a:pt x="0" y="9336"/>
                    <a:pt x="0" y="9702"/>
                  </a:cubicBezTo>
                  <a:cubicBezTo>
                    <a:pt x="0" y="11898"/>
                    <a:pt x="0" y="11898"/>
                    <a:pt x="0" y="11898"/>
                  </a:cubicBezTo>
                  <a:cubicBezTo>
                    <a:pt x="0" y="12264"/>
                    <a:pt x="0" y="12447"/>
                    <a:pt x="2880" y="13546"/>
                  </a:cubicBezTo>
                  <a:cubicBezTo>
                    <a:pt x="3240" y="14461"/>
                    <a:pt x="3240" y="14461"/>
                    <a:pt x="3240" y="14461"/>
                  </a:cubicBezTo>
                  <a:cubicBezTo>
                    <a:pt x="1980" y="17207"/>
                    <a:pt x="2160" y="17390"/>
                    <a:pt x="2340" y="17573"/>
                  </a:cubicBezTo>
                  <a:cubicBezTo>
                    <a:pt x="3960" y="19220"/>
                    <a:pt x="3960" y="19220"/>
                    <a:pt x="3960" y="19220"/>
                  </a:cubicBezTo>
                  <a:cubicBezTo>
                    <a:pt x="4140" y="19403"/>
                    <a:pt x="4140" y="19403"/>
                    <a:pt x="4140" y="19403"/>
                  </a:cubicBezTo>
                  <a:cubicBezTo>
                    <a:pt x="4320" y="19403"/>
                    <a:pt x="4320" y="19403"/>
                    <a:pt x="4320" y="19403"/>
                  </a:cubicBezTo>
                  <a:cubicBezTo>
                    <a:pt x="4500" y="19403"/>
                    <a:pt x="4680" y="19403"/>
                    <a:pt x="7200" y="18305"/>
                  </a:cubicBezTo>
                  <a:cubicBezTo>
                    <a:pt x="8100" y="18671"/>
                    <a:pt x="8100" y="18671"/>
                    <a:pt x="8100" y="18671"/>
                  </a:cubicBezTo>
                  <a:cubicBezTo>
                    <a:pt x="9180" y="21600"/>
                    <a:pt x="9360" y="21600"/>
                    <a:pt x="9720" y="21600"/>
                  </a:cubicBezTo>
                  <a:cubicBezTo>
                    <a:pt x="12060" y="21600"/>
                    <a:pt x="12060" y="21600"/>
                    <a:pt x="12060" y="21600"/>
                  </a:cubicBezTo>
                  <a:cubicBezTo>
                    <a:pt x="12420" y="21600"/>
                    <a:pt x="12420" y="21600"/>
                    <a:pt x="13500" y="18671"/>
                  </a:cubicBezTo>
                  <a:cubicBezTo>
                    <a:pt x="14400" y="18122"/>
                    <a:pt x="14400" y="18122"/>
                    <a:pt x="14400" y="18122"/>
                  </a:cubicBezTo>
                  <a:cubicBezTo>
                    <a:pt x="16020" y="18854"/>
                    <a:pt x="17100" y="19220"/>
                    <a:pt x="17280" y="19220"/>
                  </a:cubicBezTo>
                  <a:cubicBezTo>
                    <a:pt x="17460" y="19220"/>
                    <a:pt x="17460" y="19220"/>
                    <a:pt x="17460" y="19220"/>
                  </a:cubicBezTo>
                  <a:cubicBezTo>
                    <a:pt x="19260" y="17573"/>
                    <a:pt x="19260" y="17573"/>
                    <a:pt x="19260" y="17573"/>
                  </a:cubicBezTo>
                  <a:cubicBezTo>
                    <a:pt x="19440" y="17207"/>
                    <a:pt x="19620" y="17207"/>
                    <a:pt x="18360" y="14278"/>
                  </a:cubicBezTo>
                  <a:cubicBezTo>
                    <a:pt x="18720" y="13546"/>
                    <a:pt x="18720" y="13546"/>
                    <a:pt x="18720" y="13546"/>
                  </a:cubicBezTo>
                  <a:cubicBezTo>
                    <a:pt x="21600" y="12264"/>
                    <a:pt x="21600" y="12264"/>
                    <a:pt x="21600" y="11898"/>
                  </a:cubicBezTo>
                  <a:cubicBezTo>
                    <a:pt x="21600" y="9519"/>
                    <a:pt x="21600" y="9519"/>
                    <a:pt x="21600" y="9519"/>
                  </a:cubicBezTo>
                  <a:cubicBezTo>
                    <a:pt x="21600" y="9153"/>
                    <a:pt x="21600" y="9153"/>
                    <a:pt x="18720" y="8054"/>
                  </a:cubicBezTo>
                  <a:close/>
                  <a:moveTo>
                    <a:pt x="10800" y="14461"/>
                  </a:moveTo>
                  <a:cubicBezTo>
                    <a:pt x="8640" y="14461"/>
                    <a:pt x="7020" y="12814"/>
                    <a:pt x="7020" y="10800"/>
                  </a:cubicBezTo>
                  <a:cubicBezTo>
                    <a:pt x="7020" y="8603"/>
                    <a:pt x="8640" y="6956"/>
                    <a:pt x="10800" y="6956"/>
                  </a:cubicBezTo>
                  <a:cubicBezTo>
                    <a:pt x="12960" y="6956"/>
                    <a:pt x="14580" y="8603"/>
                    <a:pt x="14580" y="10800"/>
                  </a:cubicBezTo>
                  <a:cubicBezTo>
                    <a:pt x="14580" y="12814"/>
                    <a:pt x="12960" y="14461"/>
                    <a:pt x="10800" y="14461"/>
                  </a:cubicBezTo>
                  <a:close/>
                  <a:moveTo>
                    <a:pt x="10800" y="14461"/>
                  </a:moveTo>
                  <a:cubicBezTo>
                    <a:pt x="10800" y="14461"/>
                    <a:pt x="10800" y="14461"/>
                    <a:pt x="10800" y="14461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9C3ADBA9-8E28-4B90-BBF3-02C46834672B}"/>
                </a:ext>
              </a:extLst>
            </p:cNvPr>
            <p:cNvSpPr/>
            <p:nvPr/>
          </p:nvSpPr>
          <p:spPr>
            <a:xfrm>
              <a:off x="825582" y="45138"/>
              <a:ext cx="142695" cy="138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47" y="8047"/>
                  </a:moveTo>
                  <a:cubicBezTo>
                    <a:pt x="18340" y="7200"/>
                    <a:pt x="18340" y="7200"/>
                    <a:pt x="18340" y="7200"/>
                  </a:cubicBezTo>
                  <a:cubicBezTo>
                    <a:pt x="19562" y="4235"/>
                    <a:pt x="19155" y="4235"/>
                    <a:pt x="19155" y="3812"/>
                  </a:cubicBezTo>
                  <a:cubicBezTo>
                    <a:pt x="17525" y="2118"/>
                    <a:pt x="17525" y="2118"/>
                    <a:pt x="17525" y="2118"/>
                  </a:cubicBezTo>
                  <a:cubicBezTo>
                    <a:pt x="17525" y="2118"/>
                    <a:pt x="17525" y="2118"/>
                    <a:pt x="17525" y="2118"/>
                  </a:cubicBezTo>
                  <a:cubicBezTo>
                    <a:pt x="17117" y="2118"/>
                    <a:pt x="17117" y="2118"/>
                    <a:pt x="17117" y="2118"/>
                  </a:cubicBezTo>
                  <a:cubicBezTo>
                    <a:pt x="17117" y="2118"/>
                    <a:pt x="16709" y="2118"/>
                    <a:pt x="14264" y="3388"/>
                  </a:cubicBezTo>
                  <a:cubicBezTo>
                    <a:pt x="13449" y="2965"/>
                    <a:pt x="13449" y="2965"/>
                    <a:pt x="13449" y="2965"/>
                  </a:cubicBezTo>
                  <a:cubicBezTo>
                    <a:pt x="12226" y="0"/>
                    <a:pt x="12226" y="0"/>
                    <a:pt x="11819" y="0"/>
                  </a:cubicBezTo>
                  <a:cubicBezTo>
                    <a:pt x="9781" y="0"/>
                    <a:pt x="9781" y="0"/>
                    <a:pt x="9781" y="0"/>
                  </a:cubicBezTo>
                  <a:cubicBezTo>
                    <a:pt x="9374" y="0"/>
                    <a:pt x="9374" y="0"/>
                    <a:pt x="8151" y="2965"/>
                  </a:cubicBezTo>
                  <a:cubicBezTo>
                    <a:pt x="7336" y="3388"/>
                    <a:pt x="7336" y="3388"/>
                    <a:pt x="7336" y="3388"/>
                  </a:cubicBezTo>
                  <a:cubicBezTo>
                    <a:pt x="5706" y="2541"/>
                    <a:pt x="4483" y="2118"/>
                    <a:pt x="4483" y="2118"/>
                  </a:cubicBezTo>
                  <a:cubicBezTo>
                    <a:pt x="4075" y="2118"/>
                    <a:pt x="4075" y="2118"/>
                    <a:pt x="4075" y="2118"/>
                  </a:cubicBezTo>
                  <a:cubicBezTo>
                    <a:pt x="2445" y="3812"/>
                    <a:pt x="2445" y="3812"/>
                    <a:pt x="2445" y="3812"/>
                  </a:cubicBezTo>
                  <a:cubicBezTo>
                    <a:pt x="2038" y="4235"/>
                    <a:pt x="2038" y="4235"/>
                    <a:pt x="3260" y="7200"/>
                  </a:cubicBezTo>
                  <a:cubicBezTo>
                    <a:pt x="3260" y="8047"/>
                    <a:pt x="3260" y="8047"/>
                    <a:pt x="3260" y="8047"/>
                  </a:cubicBezTo>
                  <a:cubicBezTo>
                    <a:pt x="0" y="9318"/>
                    <a:pt x="0" y="9318"/>
                    <a:pt x="0" y="9741"/>
                  </a:cubicBezTo>
                  <a:cubicBezTo>
                    <a:pt x="0" y="11859"/>
                    <a:pt x="0" y="11859"/>
                    <a:pt x="0" y="11859"/>
                  </a:cubicBezTo>
                  <a:cubicBezTo>
                    <a:pt x="0" y="12282"/>
                    <a:pt x="0" y="12282"/>
                    <a:pt x="3260" y="13553"/>
                  </a:cubicBezTo>
                  <a:cubicBezTo>
                    <a:pt x="3260" y="14400"/>
                    <a:pt x="3260" y="14400"/>
                    <a:pt x="3260" y="14400"/>
                  </a:cubicBezTo>
                  <a:cubicBezTo>
                    <a:pt x="2038" y="17365"/>
                    <a:pt x="2445" y="17365"/>
                    <a:pt x="2445" y="17788"/>
                  </a:cubicBezTo>
                  <a:cubicBezTo>
                    <a:pt x="4075" y="19482"/>
                    <a:pt x="4075" y="19482"/>
                    <a:pt x="4075" y="19482"/>
                  </a:cubicBezTo>
                  <a:cubicBezTo>
                    <a:pt x="4075" y="19482"/>
                    <a:pt x="4075" y="19482"/>
                    <a:pt x="4075" y="19482"/>
                  </a:cubicBezTo>
                  <a:cubicBezTo>
                    <a:pt x="4483" y="19482"/>
                    <a:pt x="4483" y="19482"/>
                    <a:pt x="4483" y="19482"/>
                  </a:cubicBezTo>
                  <a:cubicBezTo>
                    <a:pt x="4483" y="19482"/>
                    <a:pt x="4891" y="19482"/>
                    <a:pt x="7336" y="18212"/>
                  </a:cubicBezTo>
                  <a:cubicBezTo>
                    <a:pt x="8151" y="18635"/>
                    <a:pt x="8151" y="18635"/>
                    <a:pt x="8151" y="18635"/>
                  </a:cubicBezTo>
                  <a:cubicBezTo>
                    <a:pt x="9374" y="21600"/>
                    <a:pt x="9374" y="21600"/>
                    <a:pt x="9781" y="21600"/>
                  </a:cubicBezTo>
                  <a:cubicBezTo>
                    <a:pt x="11819" y="21600"/>
                    <a:pt x="11819" y="21600"/>
                    <a:pt x="11819" y="21600"/>
                  </a:cubicBezTo>
                  <a:cubicBezTo>
                    <a:pt x="12226" y="21600"/>
                    <a:pt x="12634" y="21600"/>
                    <a:pt x="13449" y="18635"/>
                  </a:cubicBezTo>
                  <a:cubicBezTo>
                    <a:pt x="14264" y="18212"/>
                    <a:pt x="14264" y="18212"/>
                    <a:pt x="14264" y="18212"/>
                  </a:cubicBezTo>
                  <a:cubicBezTo>
                    <a:pt x="15894" y="19059"/>
                    <a:pt x="17117" y="19482"/>
                    <a:pt x="17117" y="19482"/>
                  </a:cubicBezTo>
                  <a:cubicBezTo>
                    <a:pt x="17525" y="19482"/>
                    <a:pt x="17525" y="19482"/>
                    <a:pt x="17525" y="19482"/>
                  </a:cubicBezTo>
                  <a:cubicBezTo>
                    <a:pt x="19155" y="17788"/>
                    <a:pt x="19155" y="17788"/>
                    <a:pt x="19155" y="17788"/>
                  </a:cubicBezTo>
                  <a:cubicBezTo>
                    <a:pt x="19562" y="17365"/>
                    <a:pt x="19562" y="17365"/>
                    <a:pt x="18340" y="14400"/>
                  </a:cubicBezTo>
                  <a:cubicBezTo>
                    <a:pt x="18747" y="13553"/>
                    <a:pt x="18747" y="13553"/>
                    <a:pt x="18747" y="13553"/>
                  </a:cubicBezTo>
                  <a:cubicBezTo>
                    <a:pt x="21600" y="12282"/>
                    <a:pt x="21600" y="12282"/>
                    <a:pt x="21600" y="11859"/>
                  </a:cubicBezTo>
                  <a:cubicBezTo>
                    <a:pt x="21600" y="9741"/>
                    <a:pt x="21600" y="9741"/>
                    <a:pt x="21600" y="9741"/>
                  </a:cubicBezTo>
                  <a:cubicBezTo>
                    <a:pt x="21600" y="9318"/>
                    <a:pt x="21600" y="9318"/>
                    <a:pt x="18747" y="8047"/>
                  </a:cubicBezTo>
                  <a:close/>
                  <a:moveTo>
                    <a:pt x="11004" y="14400"/>
                  </a:moveTo>
                  <a:cubicBezTo>
                    <a:pt x="8558" y="14400"/>
                    <a:pt x="6928" y="12706"/>
                    <a:pt x="6928" y="10588"/>
                  </a:cubicBezTo>
                  <a:cubicBezTo>
                    <a:pt x="6928" y="8894"/>
                    <a:pt x="8558" y="7200"/>
                    <a:pt x="11004" y="7200"/>
                  </a:cubicBezTo>
                  <a:cubicBezTo>
                    <a:pt x="13042" y="7200"/>
                    <a:pt x="14672" y="8894"/>
                    <a:pt x="14672" y="10588"/>
                  </a:cubicBezTo>
                  <a:cubicBezTo>
                    <a:pt x="14672" y="12706"/>
                    <a:pt x="13042" y="14400"/>
                    <a:pt x="11004" y="14400"/>
                  </a:cubicBezTo>
                  <a:close/>
                  <a:moveTo>
                    <a:pt x="11004" y="14400"/>
                  </a:moveTo>
                  <a:cubicBezTo>
                    <a:pt x="11004" y="14400"/>
                    <a:pt x="11004" y="14400"/>
                    <a:pt x="11004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E6F2985C-C32E-4E7C-AB38-95D7575012A1}"/>
                </a:ext>
              </a:extLst>
            </p:cNvPr>
            <p:cNvSpPr/>
            <p:nvPr/>
          </p:nvSpPr>
          <p:spPr>
            <a:xfrm>
              <a:off x="1287151" y="1119705"/>
              <a:ext cx="144151" cy="1368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8047"/>
                  </a:moveTo>
                  <a:cubicBezTo>
                    <a:pt x="17932" y="7200"/>
                    <a:pt x="17932" y="7200"/>
                    <a:pt x="17932" y="7200"/>
                  </a:cubicBezTo>
                  <a:cubicBezTo>
                    <a:pt x="19155" y="4235"/>
                    <a:pt x="19155" y="4235"/>
                    <a:pt x="19155" y="3812"/>
                  </a:cubicBezTo>
                  <a:cubicBezTo>
                    <a:pt x="17525" y="2541"/>
                    <a:pt x="17525" y="2541"/>
                    <a:pt x="17525" y="2541"/>
                  </a:cubicBezTo>
                  <a:cubicBezTo>
                    <a:pt x="17117" y="2118"/>
                    <a:pt x="17117" y="2118"/>
                    <a:pt x="17117" y="2118"/>
                  </a:cubicBezTo>
                  <a:cubicBezTo>
                    <a:pt x="17117" y="2118"/>
                    <a:pt x="17117" y="2118"/>
                    <a:pt x="17117" y="2118"/>
                  </a:cubicBezTo>
                  <a:cubicBezTo>
                    <a:pt x="17117" y="2118"/>
                    <a:pt x="16709" y="2118"/>
                    <a:pt x="14264" y="3388"/>
                  </a:cubicBezTo>
                  <a:cubicBezTo>
                    <a:pt x="13449" y="2965"/>
                    <a:pt x="13449" y="2965"/>
                    <a:pt x="13449" y="2965"/>
                  </a:cubicBezTo>
                  <a:cubicBezTo>
                    <a:pt x="12226" y="0"/>
                    <a:pt x="12226" y="0"/>
                    <a:pt x="11819" y="0"/>
                  </a:cubicBezTo>
                  <a:cubicBezTo>
                    <a:pt x="9374" y="0"/>
                    <a:pt x="9374" y="0"/>
                    <a:pt x="9374" y="0"/>
                  </a:cubicBezTo>
                  <a:cubicBezTo>
                    <a:pt x="9374" y="0"/>
                    <a:pt x="8966" y="0"/>
                    <a:pt x="8151" y="2965"/>
                  </a:cubicBezTo>
                  <a:cubicBezTo>
                    <a:pt x="7336" y="3388"/>
                    <a:pt x="7336" y="3388"/>
                    <a:pt x="7336" y="3388"/>
                  </a:cubicBezTo>
                  <a:cubicBezTo>
                    <a:pt x="5706" y="2541"/>
                    <a:pt x="4483" y="2118"/>
                    <a:pt x="4483" y="2118"/>
                  </a:cubicBezTo>
                  <a:cubicBezTo>
                    <a:pt x="4075" y="2118"/>
                    <a:pt x="4075" y="2118"/>
                    <a:pt x="4075" y="2118"/>
                  </a:cubicBezTo>
                  <a:cubicBezTo>
                    <a:pt x="2445" y="4235"/>
                    <a:pt x="2445" y="4235"/>
                    <a:pt x="2445" y="4235"/>
                  </a:cubicBezTo>
                  <a:cubicBezTo>
                    <a:pt x="2038" y="4235"/>
                    <a:pt x="2038" y="4235"/>
                    <a:pt x="3260" y="7200"/>
                  </a:cubicBezTo>
                  <a:cubicBezTo>
                    <a:pt x="2853" y="8047"/>
                    <a:pt x="2853" y="8047"/>
                    <a:pt x="2853" y="8047"/>
                  </a:cubicBezTo>
                  <a:cubicBezTo>
                    <a:pt x="0" y="9318"/>
                    <a:pt x="0" y="9318"/>
                    <a:pt x="0" y="9741"/>
                  </a:cubicBezTo>
                  <a:cubicBezTo>
                    <a:pt x="0" y="12282"/>
                    <a:pt x="0" y="12282"/>
                    <a:pt x="0" y="12282"/>
                  </a:cubicBezTo>
                  <a:cubicBezTo>
                    <a:pt x="0" y="12282"/>
                    <a:pt x="0" y="12706"/>
                    <a:pt x="2853" y="13553"/>
                  </a:cubicBezTo>
                  <a:cubicBezTo>
                    <a:pt x="3260" y="14400"/>
                    <a:pt x="3260" y="14400"/>
                    <a:pt x="3260" y="14400"/>
                  </a:cubicBezTo>
                  <a:cubicBezTo>
                    <a:pt x="2038" y="17365"/>
                    <a:pt x="2038" y="17365"/>
                    <a:pt x="2445" y="17788"/>
                  </a:cubicBezTo>
                  <a:cubicBezTo>
                    <a:pt x="4075" y="19482"/>
                    <a:pt x="4075" y="19482"/>
                    <a:pt x="4075" y="19482"/>
                  </a:cubicBezTo>
                  <a:cubicBezTo>
                    <a:pt x="4075" y="19482"/>
                    <a:pt x="4075" y="19482"/>
                    <a:pt x="4075" y="19482"/>
                  </a:cubicBezTo>
                  <a:cubicBezTo>
                    <a:pt x="4483" y="19482"/>
                    <a:pt x="4483" y="19482"/>
                    <a:pt x="4483" y="19482"/>
                  </a:cubicBezTo>
                  <a:cubicBezTo>
                    <a:pt x="4483" y="19482"/>
                    <a:pt x="4891" y="19482"/>
                    <a:pt x="7336" y="18635"/>
                  </a:cubicBezTo>
                  <a:cubicBezTo>
                    <a:pt x="8151" y="18635"/>
                    <a:pt x="8151" y="18635"/>
                    <a:pt x="8151" y="18635"/>
                  </a:cubicBezTo>
                  <a:cubicBezTo>
                    <a:pt x="9374" y="21600"/>
                    <a:pt x="9374" y="21600"/>
                    <a:pt x="9781" y="21600"/>
                  </a:cubicBezTo>
                  <a:cubicBezTo>
                    <a:pt x="11819" y="21600"/>
                    <a:pt x="11819" y="21600"/>
                    <a:pt x="11819" y="21600"/>
                  </a:cubicBezTo>
                  <a:cubicBezTo>
                    <a:pt x="12226" y="21600"/>
                    <a:pt x="12226" y="21600"/>
                    <a:pt x="13449" y="18635"/>
                  </a:cubicBezTo>
                  <a:cubicBezTo>
                    <a:pt x="14264" y="18212"/>
                    <a:pt x="14264" y="18212"/>
                    <a:pt x="14264" y="18212"/>
                  </a:cubicBezTo>
                  <a:cubicBezTo>
                    <a:pt x="15894" y="19059"/>
                    <a:pt x="16709" y="19482"/>
                    <a:pt x="17117" y="19482"/>
                  </a:cubicBezTo>
                  <a:cubicBezTo>
                    <a:pt x="17525" y="19482"/>
                    <a:pt x="17525" y="19482"/>
                    <a:pt x="17525" y="19482"/>
                  </a:cubicBezTo>
                  <a:cubicBezTo>
                    <a:pt x="19155" y="17788"/>
                    <a:pt x="19155" y="17788"/>
                    <a:pt x="19155" y="17788"/>
                  </a:cubicBezTo>
                  <a:cubicBezTo>
                    <a:pt x="19155" y="17365"/>
                    <a:pt x="19562" y="17365"/>
                    <a:pt x="17932" y="14400"/>
                  </a:cubicBezTo>
                  <a:cubicBezTo>
                    <a:pt x="18340" y="13553"/>
                    <a:pt x="18340" y="13553"/>
                    <a:pt x="18340" y="13553"/>
                  </a:cubicBezTo>
                  <a:cubicBezTo>
                    <a:pt x="21600" y="12282"/>
                    <a:pt x="21600" y="12282"/>
                    <a:pt x="21600" y="11859"/>
                  </a:cubicBezTo>
                  <a:cubicBezTo>
                    <a:pt x="21600" y="9741"/>
                    <a:pt x="21600" y="9741"/>
                    <a:pt x="21600" y="9741"/>
                  </a:cubicBezTo>
                  <a:cubicBezTo>
                    <a:pt x="21600" y="9318"/>
                    <a:pt x="21600" y="9318"/>
                    <a:pt x="18340" y="8047"/>
                  </a:cubicBezTo>
                  <a:close/>
                  <a:moveTo>
                    <a:pt x="10596" y="14824"/>
                  </a:moveTo>
                  <a:cubicBezTo>
                    <a:pt x="8558" y="14824"/>
                    <a:pt x="6928" y="13129"/>
                    <a:pt x="6928" y="11012"/>
                  </a:cubicBezTo>
                  <a:cubicBezTo>
                    <a:pt x="6928" y="8894"/>
                    <a:pt x="8558" y="7200"/>
                    <a:pt x="10596" y="7200"/>
                  </a:cubicBezTo>
                  <a:cubicBezTo>
                    <a:pt x="12634" y="7200"/>
                    <a:pt x="14264" y="8894"/>
                    <a:pt x="14264" y="11012"/>
                  </a:cubicBezTo>
                  <a:cubicBezTo>
                    <a:pt x="14264" y="13129"/>
                    <a:pt x="12634" y="14824"/>
                    <a:pt x="10596" y="14824"/>
                  </a:cubicBezTo>
                  <a:close/>
                  <a:moveTo>
                    <a:pt x="10596" y="14824"/>
                  </a:moveTo>
                  <a:cubicBezTo>
                    <a:pt x="10596" y="14824"/>
                    <a:pt x="10596" y="14824"/>
                    <a:pt x="10596" y="14824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BFCCAF5D-7220-4C89-A4B9-83AF4A40EC09}"/>
                </a:ext>
              </a:extLst>
            </p:cNvPr>
            <p:cNvSpPr/>
            <p:nvPr/>
          </p:nvSpPr>
          <p:spPr>
            <a:xfrm>
              <a:off x="1619131" y="997396"/>
              <a:ext cx="141239" cy="1383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2" y="8047"/>
                  </a:moveTo>
                  <a:cubicBezTo>
                    <a:pt x="18277" y="7200"/>
                    <a:pt x="18277" y="7200"/>
                    <a:pt x="18277" y="7200"/>
                  </a:cubicBezTo>
                  <a:cubicBezTo>
                    <a:pt x="19523" y="4235"/>
                    <a:pt x="19523" y="4235"/>
                    <a:pt x="19523" y="3812"/>
                  </a:cubicBezTo>
                  <a:cubicBezTo>
                    <a:pt x="17862" y="2541"/>
                    <a:pt x="17862" y="2541"/>
                    <a:pt x="17862" y="2541"/>
                  </a:cubicBezTo>
                  <a:cubicBezTo>
                    <a:pt x="17446" y="2118"/>
                    <a:pt x="17446" y="2118"/>
                    <a:pt x="17446" y="2118"/>
                  </a:cubicBezTo>
                  <a:cubicBezTo>
                    <a:pt x="17446" y="2118"/>
                    <a:pt x="17446" y="2118"/>
                    <a:pt x="17446" y="2118"/>
                  </a:cubicBezTo>
                  <a:cubicBezTo>
                    <a:pt x="17446" y="2118"/>
                    <a:pt x="17031" y="2118"/>
                    <a:pt x="14538" y="3388"/>
                  </a:cubicBezTo>
                  <a:cubicBezTo>
                    <a:pt x="13708" y="2965"/>
                    <a:pt x="13708" y="2965"/>
                    <a:pt x="13708" y="2965"/>
                  </a:cubicBezTo>
                  <a:cubicBezTo>
                    <a:pt x="12462" y="0"/>
                    <a:pt x="12462" y="0"/>
                    <a:pt x="12046" y="0"/>
                  </a:cubicBezTo>
                  <a:cubicBezTo>
                    <a:pt x="9554" y="0"/>
                    <a:pt x="9554" y="0"/>
                    <a:pt x="9554" y="0"/>
                  </a:cubicBezTo>
                  <a:cubicBezTo>
                    <a:pt x="9554" y="0"/>
                    <a:pt x="9138" y="0"/>
                    <a:pt x="8308" y="2965"/>
                  </a:cubicBezTo>
                  <a:cubicBezTo>
                    <a:pt x="7062" y="3388"/>
                    <a:pt x="7062" y="3388"/>
                    <a:pt x="7062" y="3388"/>
                  </a:cubicBezTo>
                  <a:cubicBezTo>
                    <a:pt x="5400" y="2541"/>
                    <a:pt x="4569" y="2541"/>
                    <a:pt x="4154" y="2541"/>
                  </a:cubicBezTo>
                  <a:cubicBezTo>
                    <a:pt x="4154" y="2541"/>
                    <a:pt x="4154" y="2541"/>
                    <a:pt x="4154" y="2541"/>
                  </a:cubicBezTo>
                  <a:cubicBezTo>
                    <a:pt x="2492" y="4235"/>
                    <a:pt x="2492" y="4235"/>
                    <a:pt x="2492" y="4235"/>
                  </a:cubicBezTo>
                  <a:cubicBezTo>
                    <a:pt x="2077" y="4235"/>
                    <a:pt x="2077" y="4235"/>
                    <a:pt x="3323" y="7200"/>
                  </a:cubicBezTo>
                  <a:cubicBezTo>
                    <a:pt x="2908" y="8047"/>
                    <a:pt x="2908" y="8047"/>
                    <a:pt x="2908" y="8047"/>
                  </a:cubicBezTo>
                  <a:cubicBezTo>
                    <a:pt x="0" y="9318"/>
                    <a:pt x="0" y="9318"/>
                    <a:pt x="0" y="9741"/>
                  </a:cubicBezTo>
                  <a:cubicBezTo>
                    <a:pt x="0" y="12282"/>
                    <a:pt x="0" y="12282"/>
                    <a:pt x="0" y="12282"/>
                  </a:cubicBezTo>
                  <a:cubicBezTo>
                    <a:pt x="0" y="12282"/>
                    <a:pt x="0" y="12706"/>
                    <a:pt x="2908" y="13553"/>
                  </a:cubicBezTo>
                  <a:cubicBezTo>
                    <a:pt x="3323" y="14400"/>
                    <a:pt x="3323" y="14400"/>
                    <a:pt x="3323" y="14400"/>
                  </a:cubicBezTo>
                  <a:cubicBezTo>
                    <a:pt x="2077" y="17365"/>
                    <a:pt x="2077" y="17788"/>
                    <a:pt x="2492" y="17788"/>
                  </a:cubicBezTo>
                  <a:cubicBezTo>
                    <a:pt x="4154" y="19482"/>
                    <a:pt x="4154" y="19482"/>
                    <a:pt x="4154" y="19482"/>
                  </a:cubicBezTo>
                  <a:cubicBezTo>
                    <a:pt x="4154" y="19482"/>
                    <a:pt x="4154" y="19482"/>
                    <a:pt x="4154" y="19482"/>
                  </a:cubicBezTo>
                  <a:cubicBezTo>
                    <a:pt x="4569" y="19482"/>
                    <a:pt x="4569" y="19482"/>
                    <a:pt x="4569" y="19482"/>
                  </a:cubicBezTo>
                  <a:cubicBezTo>
                    <a:pt x="4569" y="19482"/>
                    <a:pt x="4985" y="19482"/>
                    <a:pt x="7477" y="18635"/>
                  </a:cubicBezTo>
                  <a:cubicBezTo>
                    <a:pt x="8308" y="18635"/>
                    <a:pt x="8308" y="18635"/>
                    <a:pt x="8308" y="18635"/>
                  </a:cubicBezTo>
                  <a:cubicBezTo>
                    <a:pt x="9554" y="21600"/>
                    <a:pt x="9554" y="21600"/>
                    <a:pt x="9969" y="21600"/>
                  </a:cubicBezTo>
                  <a:cubicBezTo>
                    <a:pt x="12046" y="21600"/>
                    <a:pt x="12046" y="21600"/>
                    <a:pt x="12046" y="21600"/>
                  </a:cubicBezTo>
                  <a:cubicBezTo>
                    <a:pt x="12462" y="21600"/>
                    <a:pt x="12462" y="21600"/>
                    <a:pt x="13708" y="18635"/>
                  </a:cubicBezTo>
                  <a:cubicBezTo>
                    <a:pt x="14538" y="18635"/>
                    <a:pt x="14538" y="18635"/>
                    <a:pt x="14538" y="18635"/>
                  </a:cubicBezTo>
                  <a:cubicBezTo>
                    <a:pt x="16200" y="19059"/>
                    <a:pt x="17031" y="19482"/>
                    <a:pt x="17446" y="19482"/>
                  </a:cubicBezTo>
                  <a:cubicBezTo>
                    <a:pt x="17862" y="19482"/>
                    <a:pt x="17862" y="19482"/>
                    <a:pt x="17862" y="19482"/>
                  </a:cubicBezTo>
                  <a:cubicBezTo>
                    <a:pt x="19523" y="17788"/>
                    <a:pt x="19523" y="17788"/>
                    <a:pt x="19523" y="17788"/>
                  </a:cubicBezTo>
                  <a:cubicBezTo>
                    <a:pt x="19523" y="17365"/>
                    <a:pt x="19938" y="17365"/>
                    <a:pt x="18277" y="14400"/>
                  </a:cubicBezTo>
                  <a:cubicBezTo>
                    <a:pt x="18692" y="13553"/>
                    <a:pt x="18692" y="13553"/>
                    <a:pt x="18692" y="13553"/>
                  </a:cubicBezTo>
                  <a:cubicBezTo>
                    <a:pt x="21600" y="12706"/>
                    <a:pt x="21600" y="12282"/>
                    <a:pt x="21600" y="11859"/>
                  </a:cubicBezTo>
                  <a:cubicBezTo>
                    <a:pt x="21600" y="9741"/>
                    <a:pt x="21600" y="9741"/>
                    <a:pt x="21600" y="9741"/>
                  </a:cubicBezTo>
                  <a:cubicBezTo>
                    <a:pt x="21600" y="9318"/>
                    <a:pt x="21600" y="9318"/>
                    <a:pt x="18692" y="8047"/>
                  </a:cubicBezTo>
                  <a:close/>
                  <a:moveTo>
                    <a:pt x="10800" y="14824"/>
                  </a:moveTo>
                  <a:cubicBezTo>
                    <a:pt x="8723" y="14824"/>
                    <a:pt x="7062" y="13129"/>
                    <a:pt x="7062" y="11012"/>
                  </a:cubicBezTo>
                  <a:cubicBezTo>
                    <a:pt x="7062" y="8894"/>
                    <a:pt x="8723" y="7200"/>
                    <a:pt x="10800" y="7200"/>
                  </a:cubicBezTo>
                  <a:cubicBezTo>
                    <a:pt x="12877" y="7200"/>
                    <a:pt x="14538" y="8894"/>
                    <a:pt x="14538" y="11012"/>
                  </a:cubicBezTo>
                  <a:cubicBezTo>
                    <a:pt x="14538" y="13129"/>
                    <a:pt x="12877" y="14824"/>
                    <a:pt x="10800" y="14824"/>
                  </a:cubicBezTo>
                  <a:close/>
                  <a:moveTo>
                    <a:pt x="10800" y="14824"/>
                  </a:moveTo>
                  <a:cubicBezTo>
                    <a:pt x="10800" y="14824"/>
                    <a:pt x="10800" y="14824"/>
                    <a:pt x="10800" y="14824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ACF4B9CF-0579-48B3-A780-F65EDFC3680A}"/>
                </a:ext>
              </a:extLst>
            </p:cNvPr>
            <p:cNvSpPr/>
            <p:nvPr/>
          </p:nvSpPr>
          <p:spPr>
            <a:xfrm>
              <a:off x="674153" y="717834"/>
              <a:ext cx="189288" cy="1849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139"/>
                  </a:moveTo>
                  <a:cubicBezTo>
                    <a:pt x="18206" y="7200"/>
                    <a:pt x="18206" y="7200"/>
                    <a:pt x="18206" y="7200"/>
                  </a:cubicBezTo>
                  <a:cubicBezTo>
                    <a:pt x="19440" y="4383"/>
                    <a:pt x="19440" y="4383"/>
                    <a:pt x="19131" y="4070"/>
                  </a:cubicBezTo>
                  <a:cubicBezTo>
                    <a:pt x="17589" y="2504"/>
                    <a:pt x="17589" y="2504"/>
                    <a:pt x="17589" y="2504"/>
                  </a:cubicBezTo>
                  <a:cubicBezTo>
                    <a:pt x="17280" y="2191"/>
                    <a:pt x="17280" y="2191"/>
                    <a:pt x="17280" y="2191"/>
                  </a:cubicBezTo>
                  <a:cubicBezTo>
                    <a:pt x="17280" y="2191"/>
                    <a:pt x="17280" y="2191"/>
                    <a:pt x="17280" y="2191"/>
                  </a:cubicBezTo>
                  <a:cubicBezTo>
                    <a:pt x="16971" y="2191"/>
                    <a:pt x="16663" y="2191"/>
                    <a:pt x="14194" y="3443"/>
                  </a:cubicBezTo>
                  <a:cubicBezTo>
                    <a:pt x="13269" y="3130"/>
                    <a:pt x="13269" y="3130"/>
                    <a:pt x="13269" y="3130"/>
                  </a:cubicBezTo>
                  <a:cubicBezTo>
                    <a:pt x="12343" y="0"/>
                    <a:pt x="12034" y="0"/>
                    <a:pt x="11726" y="0"/>
                  </a:cubicBezTo>
                  <a:cubicBezTo>
                    <a:pt x="9566" y="0"/>
                    <a:pt x="9566" y="0"/>
                    <a:pt x="9566" y="0"/>
                  </a:cubicBezTo>
                  <a:cubicBezTo>
                    <a:pt x="9257" y="0"/>
                    <a:pt x="8949" y="0"/>
                    <a:pt x="8023" y="3130"/>
                  </a:cubicBezTo>
                  <a:cubicBezTo>
                    <a:pt x="7097" y="3443"/>
                    <a:pt x="7097" y="3443"/>
                    <a:pt x="7097" y="3443"/>
                  </a:cubicBezTo>
                  <a:cubicBezTo>
                    <a:pt x="5246" y="2817"/>
                    <a:pt x="4320" y="2504"/>
                    <a:pt x="4011" y="2504"/>
                  </a:cubicBezTo>
                  <a:cubicBezTo>
                    <a:pt x="4011" y="2504"/>
                    <a:pt x="4011" y="2504"/>
                    <a:pt x="4011" y="2504"/>
                  </a:cubicBezTo>
                  <a:cubicBezTo>
                    <a:pt x="2160" y="4070"/>
                    <a:pt x="2160" y="4070"/>
                    <a:pt x="2160" y="4070"/>
                  </a:cubicBezTo>
                  <a:cubicBezTo>
                    <a:pt x="1851" y="4383"/>
                    <a:pt x="1851" y="4383"/>
                    <a:pt x="3086" y="7200"/>
                  </a:cubicBezTo>
                  <a:cubicBezTo>
                    <a:pt x="2777" y="8139"/>
                    <a:pt x="2777" y="8139"/>
                    <a:pt x="2777" y="8139"/>
                  </a:cubicBezTo>
                  <a:cubicBezTo>
                    <a:pt x="0" y="9391"/>
                    <a:pt x="0" y="9391"/>
                    <a:pt x="0" y="9704"/>
                  </a:cubicBezTo>
                  <a:cubicBezTo>
                    <a:pt x="0" y="12209"/>
                    <a:pt x="0" y="12209"/>
                    <a:pt x="0" y="12209"/>
                  </a:cubicBezTo>
                  <a:cubicBezTo>
                    <a:pt x="0" y="12522"/>
                    <a:pt x="0" y="12522"/>
                    <a:pt x="2777" y="13774"/>
                  </a:cubicBezTo>
                  <a:cubicBezTo>
                    <a:pt x="3086" y="14400"/>
                    <a:pt x="3086" y="14400"/>
                    <a:pt x="3086" y="14400"/>
                  </a:cubicBezTo>
                  <a:cubicBezTo>
                    <a:pt x="1851" y="17530"/>
                    <a:pt x="2160" y="17530"/>
                    <a:pt x="2160" y="17843"/>
                  </a:cubicBezTo>
                  <a:cubicBezTo>
                    <a:pt x="4011" y="19409"/>
                    <a:pt x="4011" y="19409"/>
                    <a:pt x="4011" y="19409"/>
                  </a:cubicBezTo>
                  <a:cubicBezTo>
                    <a:pt x="4011" y="19409"/>
                    <a:pt x="4011" y="19409"/>
                    <a:pt x="4011" y="19409"/>
                  </a:cubicBezTo>
                  <a:cubicBezTo>
                    <a:pt x="4320" y="19409"/>
                    <a:pt x="4320" y="19409"/>
                    <a:pt x="4320" y="19409"/>
                  </a:cubicBezTo>
                  <a:cubicBezTo>
                    <a:pt x="4320" y="19409"/>
                    <a:pt x="4629" y="19409"/>
                    <a:pt x="7097" y="18470"/>
                  </a:cubicBezTo>
                  <a:cubicBezTo>
                    <a:pt x="8023" y="18783"/>
                    <a:pt x="8023" y="18783"/>
                    <a:pt x="8023" y="18783"/>
                  </a:cubicBezTo>
                  <a:cubicBezTo>
                    <a:pt x="9257" y="21600"/>
                    <a:pt x="9257" y="21600"/>
                    <a:pt x="9566" y="21600"/>
                  </a:cubicBezTo>
                  <a:cubicBezTo>
                    <a:pt x="12034" y="21600"/>
                    <a:pt x="12034" y="21600"/>
                    <a:pt x="12034" y="21600"/>
                  </a:cubicBezTo>
                  <a:cubicBezTo>
                    <a:pt x="12343" y="21600"/>
                    <a:pt x="12343" y="21600"/>
                    <a:pt x="13577" y="18783"/>
                  </a:cubicBezTo>
                  <a:cubicBezTo>
                    <a:pt x="14503" y="18470"/>
                    <a:pt x="14503" y="18470"/>
                    <a:pt x="14503" y="18470"/>
                  </a:cubicBezTo>
                  <a:cubicBezTo>
                    <a:pt x="16046" y="19096"/>
                    <a:pt x="16971" y="19409"/>
                    <a:pt x="17280" y="19409"/>
                  </a:cubicBezTo>
                  <a:cubicBezTo>
                    <a:pt x="17589" y="19409"/>
                    <a:pt x="17589" y="19409"/>
                    <a:pt x="17589" y="19409"/>
                  </a:cubicBezTo>
                  <a:cubicBezTo>
                    <a:pt x="19131" y="17530"/>
                    <a:pt x="19131" y="17530"/>
                    <a:pt x="19131" y="17530"/>
                  </a:cubicBezTo>
                  <a:cubicBezTo>
                    <a:pt x="19440" y="17530"/>
                    <a:pt x="19440" y="17217"/>
                    <a:pt x="18206" y="14400"/>
                  </a:cubicBezTo>
                  <a:cubicBezTo>
                    <a:pt x="18514" y="13461"/>
                    <a:pt x="18514" y="13461"/>
                    <a:pt x="18514" y="13461"/>
                  </a:cubicBezTo>
                  <a:cubicBezTo>
                    <a:pt x="21600" y="12522"/>
                    <a:pt x="21600" y="12209"/>
                    <a:pt x="21600" y="11896"/>
                  </a:cubicBezTo>
                  <a:cubicBezTo>
                    <a:pt x="21600" y="9704"/>
                    <a:pt x="21600" y="9704"/>
                    <a:pt x="21600" y="9704"/>
                  </a:cubicBezTo>
                  <a:cubicBezTo>
                    <a:pt x="21600" y="9391"/>
                    <a:pt x="21600" y="9078"/>
                    <a:pt x="18514" y="8139"/>
                  </a:cubicBezTo>
                  <a:close/>
                  <a:moveTo>
                    <a:pt x="10800" y="14713"/>
                  </a:moveTo>
                  <a:cubicBezTo>
                    <a:pt x="8640" y="14713"/>
                    <a:pt x="6789" y="12835"/>
                    <a:pt x="6789" y="10957"/>
                  </a:cubicBezTo>
                  <a:cubicBezTo>
                    <a:pt x="6789" y="8765"/>
                    <a:pt x="8640" y="7200"/>
                    <a:pt x="10800" y="7200"/>
                  </a:cubicBezTo>
                  <a:cubicBezTo>
                    <a:pt x="12651" y="7200"/>
                    <a:pt x="14503" y="8765"/>
                    <a:pt x="14503" y="10957"/>
                  </a:cubicBezTo>
                  <a:cubicBezTo>
                    <a:pt x="14503" y="12835"/>
                    <a:pt x="12651" y="14713"/>
                    <a:pt x="10800" y="14713"/>
                  </a:cubicBezTo>
                  <a:close/>
                  <a:moveTo>
                    <a:pt x="10800" y="14713"/>
                  </a:moveTo>
                  <a:cubicBezTo>
                    <a:pt x="10800" y="14713"/>
                    <a:pt x="10800" y="14713"/>
                    <a:pt x="10800" y="14713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9A72BB1-3E1A-4199-B0DA-FA2DFFE1BD07}"/>
                </a:ext>
              </a:extLst>
            </p:cNvPr>
            <p:cNvSpPr/>
            <p:nvPr/>
          </p:nvSpPr>
          <p:spPr>
            <a:xfrm>
              <a:off x="1025061" y="1067287"/>
              <a:ext cx="189288" cy="1863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23" y="7826"/>
                  </a:moveTo>
                  <a:cubicBezTo>
                    <a:pt x="18206" y="7200"/>
                    <a:pt x="18206" y="7200"/>
                    <a:pt x="18206" y="7200"/>
                  </a:cubicBezTo>
                  <a:cubicBezTo>
                    <a:pt x="19440" y="4070"/>
                    <a:pt x="19440" y="4070"/>
                    <a:pt x="19131" y="3757"/>
                  </a:cubicBezTo>
                  <a:cubicBezTo>
                    <a:pt x="17589" y="2191"/>
                    <a:pt x="17589" y="2191"/>
                    <a:pt x="17589" y="2191"/>
                  </a:cubicBezTo>
                  <a:cubicBezTo>
                    <a:pt x="17589" y="2191"/>
                    <a:pt x="17589" y="2191"/>
                    <a:pt x="17589" y="2191"/>
                  </a:cubicBezTo>
                  <a:cubicBezTo>
                    <a:pt x="17280" y="2191"/>
                    <a:pt x="17280" y="2191"/>
                    <a:pt x="17280" y="2191"/>
                  </a:cubicBezTo>
                  <a:cubicBezTo>
                    <a:pt x="17280" y="2191"/>
                    <a:pt x="16971" y="2191"/>
                    <a:pt x="14503" y="3130"/>
                  </a:cubicBezTo>
                  <a:cubicBezTo>
                    <a:pt x="13577" y="2817"/>
                    <a:pt x="13577" y="2817"/>
                    <a:pt x="13577" y="2817"/>
                  </a:cubicBezTo>
                  <a:cubicBezTo>
                    <a:pt x="12343" y="0"/>
                    <a:pt x="12343" y="0"/>
                    <a:pt x="12034" y="0"/>
                  </a:cubicBezTo>
                  <a:cubicBezTo>
                    <a:pt x="9566" y="0"/>
                    <a:pt x="9566" y="0"/>
                    <a:pt x="9566" y="0"/>
                  </a:cubicBezTo>
                  <a:cubicBezTo>
                    <a:pt x="9257" y="0"/>
                    <a:pt x="9257" y="0"/>
                    <a:pt x="8023" y="2817"/>
                  </a:cubicBezTo>
                  <a:cubicBezTo>
                    <a:pt x="7097" y="3130"/>
                    <a:pt x="7097" y="3130"/>
                    <a:pt x="7097" y="3130"/>
                  </a:cubicBezTo>
                  <a:cubicBezTo>
                    <a:pt x="5554" y="2504"/>
                    <a:pt x="4629" y="2191"/>
                    <a:pt x="4320" y="2191"/>
                  </a:cubicBezTo>
                  <a:cubicBezTo>
                    <a:pt x="4011" y="2191"/>
                    <a:pt x="4011" y="2191"/>
                    <a:pt x="4011" y="2191"/>
                  </a:cubicBezTo>
                  <a:cubicBezTo>
                    <a:pt x="2469" y="4070"/>
                    <a:pt x="2469" y="4070"/>
                    <a:pt x="2469" y="4070"/>
                  </a:cubicBezTo>
                  <a:cubicBezTo>
                    <a:pt x="2160" y="4070"/>
                    <a:pt x="1851" y="4383"/>
                    <a:pt x="3394" y="7200"/>
                  </a:cubicBezTo>
                  <a:cubicBezTo>
                    <a:pt x="3086" y="8139"/>
                    <a:pt x="3086" y="8139"/>
                    <a:pt x="3086" y="8139"/>
                  </a:cubicBezTo>
                  <a:cubicBezTo>
                    <a:pt x="0" y="9078"/>
                    <a:pt x="0" y="9391"/>
                    <a:pt x="0" y="9704"/>
                  </a:cubicBezTo>
                  <a:cubicBezTo>
                    <a:pt x="0" y="11896"/>
                    <a:pt x="0" y="11896"/>
                    <a:pt x="0" y="11896"/>
                  </a:cubicBezTo>
                  <a:cubicBezTo>
                    <a:pt x="0" y="12209"/>
                    <a:pt x="0" y="12522"/>
                    <a:pt x="3086" y="13461"/>
                  </a:cubicBezTo>
                  <a:cubicBezTo>
                    <a:pt x="3394" y="14400"/>
                    <a:pt x="3394" y="14400"/>
                    <a:pt x="3394" y="14400"/>
                  </a:cubicBezTo>
                  <a:cubicBezTo>
                    <a:pt x="2160" y="17217"/>
                    <a:pt x="2160" y="17217"/>
                    <a:pt x="2469" y="17530"/>
                  </a:cubicBezTo>
                  <a:cubicBezTo>
                    <a:pt x="4011" y="19096"/>
                    <a:pt x="4011" y="19096"/>
                    <a:pt x="4011" y="19096"/>
                  </a:cubicBezTo>
                  <a:cubicBezTo>
                    <a:pt x="4011" y="19409"/>
                    <a:pt x="4011" y="19409"/>
                    <a:pt x="4011" y="19409"/>
                  </a:cubicBezTo>
                  <a:cubicBezTo>
                    <a:pt x="4320" y="19409"/>
                    <a:pt x="4320" y="19409"/>
                    <a:pt x="4320" y="19409"/>
                  </a:cubicBezTo>
                  <a:cubicBezTo>
                    <a:pt x="4320" y="19409"/>
                    <a:pt x="4629" y="19409"/>
                    <a:pt x="7097" y="18157"/>
                  </a:cubicBezTo>
                  <a:cubicBezTo>
                    <a:pt x="8023" y="18470"/>
                    <a:pt x="8023" y="18470"/>
                    <a:pt x="8023" y="18470"/>
                  </a:cubicBezTo>
                  <a:cubicBezTo>
                    <a:pt x="9257" y="21600"/>
                    <a:pt x="9257" y="21600"/>
                    <a:pt x="9566" y="21600"/>
                  </a:cubicBezTo>
                  <a:cubicBezTo>
                    <a:pt x="12034" y="21600"/>
                    <a:pt x="12034" y="21600"/>
                    <a:pt x="12034" y="21600"/>
                  </a:cubicBezTo>
                  <a:cubicBezTo>
                    <a:pt x="12343" y="21600"/>
                    <a:pt x="12343" y="21600"/>
                    <a:pt x="13577" y="18470"/>
                  </a:cubicBezTo>
                  <a:cubicBezTo>
                    <a:pt x="14503" y="18157"/>
                    <a:pt x="14503" y="18157"/>
                    <a:pt x="14503" y="18157"/>
                  </a:cubicBezTo>
                  <a:cubicBezTo>
                    <a:pt x="16046" y="18783"/>
                    <a:pt x="16971" y="19096"/>
                    <a:pt x="17280" y="19096"/>
                  </a:cubicBezTo>
                  <a:cubicBezTo>
                    <a:pt x="17589" y="19096"/>
                    <a:pt x="17589" y="19096"/>
                    <a:pt x="17589" y="19096"/>
                  </a:cubicBezTo>
                  <a:cubicBezTo>
                    <a:pt x="19440" y="17530"/>
                    <a:pt x="19440" y="17530"/>
                    <a:pt x="19440" y="17530"/>
                  </a:cubicBezTo>
                  <a:cubicBezTo>
                    <a:pt x="19440" y="17217"/>
                    <a:pt x="19749" y="17217"/>
                    <a:pt x="18206" y="14400"/>
                  </a:cubicBezTo>
                  <a:cubicBezTo>
                    <a:pt x="18823" y="13461"/>
                    <a:pt x="18823" y="13461"/>
                    <a:pt x="18823" y="13461"/>
                  </a:cubicBezTo>
                  <a:cubicBezTo>
                    <a:pt x="21600" y="12209"/>
                    <a:pt x="21600" y="12209"/>
                    <a:pt x="21600" y="11896"/>
                  </a:cubicBezTo>
                  <a:cubicBezTo>
                    <a:pt x="21600" y="9391"/>
                    <a:pt x="21600" y="9391"/>
                    <a:pt x="21600" y="9391"/>
                  </a:cubicBezTo>
                  <a:cubicBezTo>
                    <a:pt x="21600" y="9078"/>
                    <a:pt x="21600" y="9078"/>
                    <a:pt x="18823" y="7826"/>
                  </a:cubicBezTo>
                  <a:close/>
                  <a:moveTo>
                    <a:pt x="10800" y="14400"/>
                  </a:moveTo>
                  <a:cubicBezTo>
                    <a:pt x="8640" y="14400"/>
                    <a:pt x="7097" y="12835"/>
                    <a:pt x="7097" y="10643"/>
                  </a:cubicBezTo>
                  <a:cubicBezTo>
                    <a:pt x="7097" y="8765"/>
                    <a:pt x="8640" y="6887"/>
                    <a:pt x="10800" y="6887"/>
                  </a:cubicBezTo>
                  <a:cubicBezTo>
                    <a:pt x="12960" y="6887"/>
                    <a:pt x="14503" y="8765"/>
                    <a:pt x="14503" y="10643"/>
                  </a:cubicBezTo>
                  <a:cubicBezTo>
                    <a:pt x="14503" y="12835"/>
                    <a:pt x="12960" y="14400"/>
                    <a:pt x="10800" y="14400"/>
                  </a:cubicBezTo>
                  <a:close/>
                  <a:moveTo>
                    <a:pt x="10800" y="14400"/>
                  </a:moveTo>
                  <a:cubicBezTo>
                    <a:pt x="10800" y="14400"/>
                    <a:pt x="10800" y="14400"/>
                    <a:pt x="10800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74CE83EB-209F-4AF1-8704-731060079303}"/>
                </a:ext>
              </a:extLst>
            </p:cNvPr>
            <p:cNvSpPr/>
            <p:nvPr/>
          </p:nvSpPr>
          <p:spPr>
            <a:xfrm>
              <a:off x="831407" y="1718142"/>
              <a:ext cx="189288" cy="1863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23" y="7826"/>
                  </a:moveTo>
                  <a:cubicBezTo>
                    <a:pt x="18206" y="7200"/>
                    <a:pt x="18206" y="7200"/>
                    <a:pt x="18206" y="7200"/>
                  </a:cubicBezTo>
                  <a:cubicBezTo>
                    <a:pt x="19440" y="4070"/>
                    <a:pt x="19440" y="4070"/>
                    <a:pt x="19131" y="3757"/>
                  </a:cubicBezTo>
                  <a:cubicBezTo>
                    <a:pt x="17589" y="2191"/>
                    <a:pt x="17589" y="2191"/>
                    <a:pt x="17589" y="2191"/>
                  </a:cubicBezTo>
                  <a:cubicBezTo>
                    <a:pt x="17589" y="2191"/>
                    <a:pt x="17589" y="2191"/>
                    <a:pt x="17589" y="2191"/>
                  </a:cubicBezTo>
                  <a:cubicBezTo>
                    <a:pt x="17280" y="2191"/>
                    <a:pt x="17280" y="2191"/>
                    <a:pt x="17280" y="2191"/>
                  </a:cubicBezTo>
                  <a:cubicBezTo>
                    <a:pt x="17280" y="2191"/>
                    <a:pt x="16971" y="2191"/>
                    <a:pt x="14503" y="3130"/>
                  </a:cubicBezTo>
                  <a:cubicBezTo>
                    <a:pt x="13577" y="2817"/>
                    <a:pt x="13577" y="2817"/>
                    <a:pt x="13577" y="2817"/>
                  </a:cubicBezTo>
                  <a:cubicBezTo>
                    <a:pt x="12343" y="0"/>
                    <a:pt x="12343" y="0"/>
                    <a:pt x="12034" y="0"/>
                  </a:cubicBezTo>
                  <a:cubicBezTo>
                    <a:pt x="9566" y="0"/>
                    <a:pt x="9566" y="0"/>
                    <a:pt x="9566" y="0"/>
                  </a:cubicBezTo>
                  <a:cubicBezTo>
                    <a:pt x="9257" y="0"/>
                    <a:pt x="9257" y="0"/>
                    <a:pt x="8023" y="2817"/>
                  </a:cubicBezTo>
                  <a:cubicBezTo>
                    <a:pt x="7097" y="3130"/>
                    <a:pt x="7097" y="3130"/>
                    <a:pt x="7097" y="3130"/>
                  </a:cubicBezTo>
                  <a:cubicBezTo>
                    <a:pt x="5554" y="2504"/>
                    <a:pt x="4629" y="2191"/>
                    <a:pt x="4320" y="2191"/>
                  </a:cubicBezTo>
                  <a:cubicBezTo>
                    <a:pt x="4011" y="2191"/>
                    <a:pt x="4011" y="2191"/>
                    <a:pt x="4011" y="2191"/>
                  </a:cubicBezTo>
                  <a:cubicBezTo>
                    <a:pt x="2469" y="3757"/>
                    <a:pt x="2469" y="3757"/>
                    <a:pt x="2469" y="3757"/>
                  </a:cubicBezTo>
                  <a:cubicBezTo>
                    <a:pt x="2160" y="4070"/>
                    <a:pt x="1851" y="4383"/>
                    <a:pt x="3394" y="7200"/>
                  </a:cubicBezTo>
                  <a:cubicBezTo>
                    <a:pt x="3086" y="7826"/>
                    <a:pt x="3086" y="7826"/>
                    <a:pt x="3086" y="7826"/>
                  </a:cubicBezTo>
                  <a:cubicBezTo>
                    <a:pt x="0" y="9078"/>
                    <a:pt x="0" y="9391"/>
                    <a:pt x="0" y="9704"/>
                  </a:cubicBezTo>
                  <a:cubicBezTo>
                    <a:pt x="0" y="11896"/>
                    <a:pt x="0" y="11896"/>
                    <a:pt x="0" y="11896"/>
                  </a:cubicBezTo>
                  <a:cubicBezTo>
                    <a:pt x="0" y="12209"/>
                    <a:pt x="0" y="12209"/>
                    <a:pt x="3086" y="13461"/>
                  </a:cubicBezTo>
                  <a:cubicBezTo>
                    <a:pt x="3394" y="14400"/>
                    <a:pt x="3394" y="14400"/>
                    <a:pt x="3394" y="14400"/>
                  </a:cubicBezTo>
                  <a:cubicBezTo>
                    <a:pt x="2160" y="17217"/>
                    <a:pt x="2160" y="17217"/>
                    <a:pt x="2469" y="17530"/>
                  </a:cubicBezTo>
                  <a:cubicBezTo>
                    <a:pt x="4011" y="19096"/>
                    <a:pt x="4011" y="19096"/>
                    <a:pt x="4011" y="19096"/>
                  </a:cubicBezTo>
                  <a:cubicBezTo>
                    <a:pt x="4011" y="19409"/>
                    <a:pt x="4011" y="19409"/>
                    <a:pt x="4011" y="19409"/>
                  </a:cubicBezTo>
                  <a:cubicBezTo>
                    <a:pt x="4320" y="19409"/>
                    <a:pt x="4320" y="19409"/>
                    <a:pt x="4320" y="19409"/>
                  </a:cubicBezTo>
                  <a:cubicBezTo>
                    <a:pt x="4320" y="19409"/>
                    <a:pt x="4629" y="19409"/>
                    <a:pt x="7097" y="18157"/>
                  </a:cubicBezTo>
                  <a:cubicBezTo>
                    <a:pt x="8023" y="18470"/>
                    <a:pt x="8023" y="18470"/>
                    <a:pt x="8023" y="18470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2034" y="21600"/>
                    <a:pt x="12034" y="21600"/>
                    <a:pt x="12034" y="21600"/>
                  </a:cubicBezTo>
                  <a:cubicBezTo>
                    <a:pt x="12343" y="21600"/>
                    <a:pt x="12343" y="21600"/>
                    <a:pt x="13577" y="18470"/>
                  </a:cubicBezTo>
                  <a:cubicBezTo>
                    <a:pt x="14503" y="18157"/>
                    <a:pt x="14503" y="18157"/>
                    <a:pt x="14503" y="18157"/>
                  </a:cubicBezTo>
                  <a:cubicBezTo>
                    <a:pt x="16046" y="18783"/>
                    <a:pt x="16971" y="19096"/>
                    <a:pt x="17280" y="19096"/>
                  </a:cubicBezTo>
                  <a:cubicBezTo>
                    <a:pt x="17589" y="19096"/>
                    <a:pt x="17589" y="19096"/>
                    <a:pt x="17589" y="19096"/>
                  </a:cubicBezTo>
                  <a:cubicBezTo>
                    <a:pt x="19440" y="17530"/>
                    <a:pt x="19440" y="17530"/>
                    <a:pt x="19440" y="17530"/>
                  </a:cubicBezTo>
                  <a:cubicBezTo>
                    <a:pt x="19440" y="17217"/>
                    <a:pt x="19749" y="17217"/>
                    <a:pt x="18206" y="14400"/>
                  </a:cubicBezTo>
                  <a:cubicBezTo>
                    <a:pt x="18823" y="13461"/>
                    <a:pt x="18823" y="13461"/>
                    <a:pt x="18823" y="13461"/>
                  </a:cubicBezTo>
                  <a:cubicBezTo>
                    <a:pt x="21600" y="12209"/>
                    <a:pt x="21600" y="12209"/>
                    <a:pt x="21600" y="11896"/>
                  </a:cubicBezTo>
                  <a:cubicBezTo>
                    <a:pt x="21600" y="9391"/>
                    <a:pt x="21600" y="9391"/>
                    <a:pt x="21600" y="9391"/>
                  </a:cubicBezTo>
                  <a:cubicBezTo>
                    <a:pt x="21600" y="9078"/>
                    <a:pt x="21600" y="9078"/>
                    <a:pt x="18823" y="7826"/>
                  </a:cubicBezTo>
                  <a:close/>
                  <a:moveTo>
                    <a:pt x="10800" y="14400"/>
                  </a:moveTo>
                  <a:cubicBezTo>
                    <a:pt x="8640" y="14400"/>
                    <a:pt x="7097" y="12835"/>
                    <a:pt x="7097" y="10643"/>
                  </a:cubicBezTo>
                  <a:cubicBezTo>
                    <a:pt x="7097" y="8452"/>
                    <a:pt x="8640" y="6887"/>
                    <a:pt x="10800" y="6887"/>
                  </a:cubicBezTo>
                  <a:cubicBezTo>
                    <a:pt x="12960" y="6887"/>
                    <a:pt x="14503" y="8452"/>
                    <a:pt x="14503" y="10643"/>
                  </a:cubicBezTo>
                  <a:cubicBezTo>
                    <a:pt x="14503" y="12835"/>
                    <a:pt x="12960" y="14400"/>
                    <a:pt x="10800" y="14400"/>
                  </a:cubicBezTo>
                  <a:close/>
                  <a:moveTo>
                    <a:pt x="10800" y="14400"/>
                  </a:moveTo>
                  <a:cubicBezTo>
                    <a:pt x="10800" y="14400"/>
                    <a:pt x="10800" y="14400"/>
                    <a:pt x="10800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CE19DC48-B01A-4187-911F-52AAC27D8475}"/>
                </a:ext>
              </a:extLst>
            </p:cNvPr>
            <p:cNvSpPr/>
            <p:nvPr/>
          </p:nvSpPr>
          <p:spPr>
            <a:xfrm>
              <a:off x="1150282" y="2103997"/>
              <a:ext cx="187832" cy="1834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941"/>
                  </a:moveTo>
                  <a:cubicBezTo>
                    <a:pt x="18206" y="6988"/>
                    <a:pt x="18206" y="6988"/>
                    <a:pt x="18206" y="6988"/>
                  </a:cubicBezTo>
                  <a:cubicBezTo>
                    <a:pt x="19440" y="4129"/>
                    <a:pt x="19440" y="4129"/>
                    <a:pt x="19131" y="3812"/>
                  </a:cubicBezTo>
                  <a:cubicBezTo>
                    <a:pt x="17589" y="2224"/>
                    <a:pt x="17589" y="2224"/>
                    <a:pt x="17589" y="2224"/>
                  </a:cubicBezTo>
                  <a:cubicBezTo>
                    <a:pt x="17280" y="2224"/>
                    <a:pt x="17280" y="2224"/>
                    <a:pt x="17280" y="2224"/>
                  </a:cubicBezTo>
                  <a:cubicBezTo>
                    <a:pt x="17280" y="2224"/>
                    <a:pt x="17280" y="2224"/>
                    <a:pt x="17280" y="2224"/>
                  </a:cubicBezTo>
                  <a:cubicBezTo>
                    <a:pt x="17280" y="2224"/>
                    <a:pt x="16971" y="2224"/>
                    <a:pt x="14503" y="3176"/>
                  </a:cubicBezTo>
                  <a:cubicBezTo>
                    <a:pt x="13577" y="2859"/>
                    <a:pt x="13577" y="2859"/>
                    <a:pt x="13577" y="2859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566" y="0"/>
                    <a:pt x="9566" y="0"/>
                    <a:pt x="9566" y="0"/>
                  </a:cubicBezTo>
                  <a:cubicBezTo>
                    <a:pt x="9257" y="0"/>
                    <a:pt x="9257" y="0"/>
                    <a:pt x="8023" y="2859"/>
                  </a:cubicBezTo>
                  <a:cubicBezTo>
                    <a:pt x="7097" y="3176"/>
                    <a:pt x="7097" y="3176"/>
                    <a:pt x="7097" y="3176"/>
                  </a:cubicBezTo>
                  <a:cubicBezTo>
                    <a:pt x="5554" y="2541"/>
                    <a:pt x="4629" y="2224"/>
                    <a:pt x="4320" y="2224"/>
                  </a:cubicBezTo>
                  <a:cubicBezTo>
                    <a:pt x="4011" y="2224"/>
                    <a:pt x="4011" y="2224"/>
                    <a:pt x="4011" y="2224"/>
                  </a:cubicBezTo>
                  <a:cubicBezTo>
                    <a:pt x="2160" y="3812"/>
                    <a:pt x="2160" y="3812"/>
                    <a:pt x="2160" y="3812"/>
                  </a:cubicBezTo>
                  <a:cubicBezTo>
                    <a:pt x="2160" y="4129"/>
                    <a:pt x="1851" y="4129"/>
                    <a:pt x="3394" y="7306"/>
                  </a:cubicBezTo>
                  <a:cubicBezTo>
                    <a:pt x="2777" y="7941"/>
                    <a:pt x="2777" y="7941"/>
                    <a:pt x="2777" y="7941"/>
                  </a:cubicBezTo>
                  <a:cubicBezTo>
                    <a:pt x="0" y="9212"/>
                    <a:pt x="0" y="9212"/>
                    <a:pt x="0" y="9847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388"/>
                    <a:pt x="0" y="12388"/>
                    <a:pt x="2777" y="13659"/>
                  </a:cubicBezTo>
                  <a:cubicBezTo>
                    <a:pt x="3394" y="14612"/>
                    <a:pt x="3394" y="14612"/>
                    <a:pt x="3394" y="14612"/>
                  </a:cubicBezTo>
                  <a:cubicBezTo>
                    <a:pt x="2160" y="17471"/>
                    <a:pt x="2160" y="17471"/>
                    <a:pt x="2469" y="17788"/>
                  </a:cubicBezTo>
                  <a:cubicBezTo>
                    <a:pt x="4011" y="19376"/>
                    <a:pt x="4011" y="19376"/>
                    <a:pt x="4011" y="19376"/>
                  </a:cubicBezTo>
                  <a:cubicBezTo>
                    <a:pt x="4011" y="19694"/>
                    <a:pt x="4011" y="19694"/>
                    <a:pt x="4011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629" y="19694"/>
                    <a:pt x="7097" y="18424"/>
                  </a:cubicBezTo>
                  <a:cubicBezTo>
                    <a:pt x="8023" y="18741"/>
                    <a:pt x="8023" y="18741"/>
                    <a:pt x="8023" y="18741"/>
                  </a:cubicBezTo>
                  <a:cubicBezTo>
                    <a:pt x="9257" y="21600"/>
                    <a:pt x="9257" y="21600"/>
                    <a:pt x="9566" y="21600"/>
                  </a:cubicBezTo>
                  <a:cubicBezTo>
                    <a:pt x="12034" y="21600"/>
                    <a:pt x="12034" y="21600"/>
                    <a:pt x="12034" y="21600"/>
                  </a:cubicBezTo>
                  <a:cubicBezTo>
                    <a:pt x="12343" y="21600"/>
                    <a:pt x="12343" y="21600"/>
                    <a:pt x="13577" y="18741"/>
                  </a:cubicBezTo>
                  <a:cubicBezTo>
                    <a:pt x="14503" y="18424"/>
                    <a:pt x="14503" y="18424"/>
                    <a:pt x="14503" y="18424"/>
                  </a:cubicBezTo>
                  <a:cubicBezTo>
                    <a:pt x="16046" y="19059"/>
                    <a:pt x="16971" y="19376"/>
                    <a:pt x="17280" y="19376"/>
                  </a:cubicBezTo>
                  <a:cubicBezTo>
                    <a:pt x="17589" y="19376"/>
                    <a:pt x="17589" y="19376"/>
                    <a:pt x="17589" y="19376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440" y="17471"/>
                    <a:pt x="19749" y="17471"/>
                    <a:pt x="18206" y="14612"/>
                  </a:cubicBezTo>
                  <a:cubicBezTo>
                    <a:pt x="18514" y="13659"/>
                    <a:pt x="18514" y="13659"/>
                    <a:pt x="18514" y="13659"/>
                  </a:cubicBezTo>
                  <a:cubicBezTo>
                    <a:pt x="21600" y="12388"/>
                    <a:pt x="21600" y="12388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212"/>
                    <a:pt x="21600" y="9212"/>
                    <a:pt x="18514" y="7941"/>
                  </a:cubicBezTo>
                  <a:close/>
                  <a:moveTo>
                    <a:pt x="10800" y="14612"/>
                  </a:moveTo>
                  <a:cubicBezTo>
                    <a:pt x="8640" y="14612"/>
                    <a:pt x="7097" y="13024"/>
                    <a:pt x="7097" y="10800"/>
                  </a:cubicBezTo>
                  <a:cubicBezTo>
                    <a:pt x="7097" y="8576"/>
                    <a:pt x="8640" y="6988"/>
                    <a:pt x="10800" y="6988"/>
                  </a:cubicBezTo>
                  <a:cubicBezTo>
                    <a:pt x="12960" y="6988"/>
                    <a:pt x="14503" y="8576"/>
                    <a:pt x="14503" y="10800"/>
                  </a:cubicBezTo>
                  <a:cubicBezTo>
                    <a:pt x="14503" y="13024"/>
                    <a:pt x="12960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444D3787-9947-4518-B4AB-2EDE4464A53C}"/>
                </a:ext>
              </a:extLst>
            </p:cNvPr>
            <p:cNvSpPr/>
            <p:nvPr/>
          </p:nvSpPr>
          <p:spPr>
            <a:xfrm>
              <a:off x="1665725" y="2195727"/>
              <a:ext cx="190744" cy="1863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58" y="8139"/>
                  </a:moveTo>
                  <a:cubicBezTo>
                    <a:pt x="18254" y="7200"/>
                    <a:pt x="18254" y="7200"/>
                    <a:pt x="18254" y="7200"/>
                  </a:cubicBezTo>
                  <a:cubicBezTo>
                    <a:pt x="19470" y="4383"/>
                    <a:pt x="19470" y="4070"/>
                    <a:pt x="19166" y="4070"/>
                  </a:cubicBezTo>
                  <a:cubicBezTo>
                    <a:pt x="17645" y="2191"/>
                    <a:pt x="17645" y="2191"/>
                    <a:pt x="17645" y="2191"/>
                  </a:cubicBezTo>
                  <a:cubicBezTo>
                    <a:pt x="17341" y="2191"/>
                    <a:pt x="17341" y="2191"/>
                    <a:pt x="17341" y="2191"/>
                  </a:cubicBezTo>
                  <a:cubicBezTo>
                    <a:pt x="17037" y="2191"/>
                    <a:pt x="17037" y="2191"/>
                    <a:pt x="17037" y="2191"/>
                  </a:cubicBezTo>
                  <a:cubicBezTo>
                    <a:pt x="17037" y="2191"/>
                    <a:pt x="16732" y="2191"/>
                    <a:pt x="14299" y="3443"/>
                  </a:cubicBezTo>
                  <a:cubicBezTo>
                    <a:pt x="13386" y="2817"/>
                    <a:pt x="13386" y="2817"/>
                    <a:pt x="13386" y="2817"/>
                  </a:cubicBezTo>
                  <a:cubicBezTo>
                    <a:pt x="12169" y="0"/>
                    <a:pt x="12169" y="0"/>
                    <a:pt x="11865" y="0"/>
                  </a:cubicBezTo>
                  <a:cubicBezTo>
                    <a:pt x="9735" y="0"/>
                    <a:pt x="9735" y="0"/>
                    <a:pt x="9735" y="0"/>
                  </a:cubicBezTo>
                  <a:cubicBezTo>
                    <a:pt x="9127" y="0"/>
                    <a:pt x="9127" y="0"/>
                    <a:pt x="8214" y="2817"/>
                  </a:cubicBezTo>
                  <a:cubicBezTo>
                    <a:pt x="7301" y="3443"/>
                    <a:pt x="7301" y="3443"/>
                    <a:pt x="7301" y="3443"/>
                  </a:cubicBezTo>
                  <a:cubicBezTo>
                    <a:pt x="5476" y="2504"/>
                    <a:pt x="4563" y="2191"/>
                    <a:pt x="4259" y="2191"/>
                  </a:cubicBezTo>
                  <a:cubicBezTo>
                    <a:pt x="4259" y="2191"/>
                    <a:pt x="4259" y="2191"/>
                    <a:pt x="4259" y="2191"/>
                  </a:cubicBezTo>
                  <a:cubicBezTo>
                    <a:pt x="2434" y="4070"/>
                    <a:pt x="2434" y="4070"/>
                    <a:pt x="2434" y="4070"/>
                  </a:cubicBezTo>
                  <a:cubicBezTo>
                    <a:pt x="2130" y="4383"/>
                    <a:pt x="2130" y="4383"/>
                    <a:pt x="3346" y="7200"/>
                  </a:cubicBezTo>
                  <a:cubicBezTo>
                    <a:pt x="3042" y="8139"/>
                    <a:pt x="3042" y="8139"/>
                    <a:pt x="3042" y="8139"/>
                  </a:cubicBezTo>
                  <a:cubicBezTo>
                    <a:pt x="0" y="9078"/>
                    <a:pt x="0" y="9391"/>
                    <a:pt x="0" y="9704"/>
                  </a:cubicBezTo>
                  <a:cubicBezTo>
                    <a:pt x="0" y="11896"/>
                    <a:pt x="0" y="11896"/>
                    <a:pt x="0" y="11896"/>
                  </a:cubicBezTo>
                  <a:cubicBezTo>
                    <a:pt x="0" y="12209"/>
                    <a:pt x="0" y="12522"/>
                    <a:pt x="3042" y="13461"/>
                  </a:cubicBezTo>
                  <a:cubicBezTo>
                    <a:pt x="3346" y="14400"/>
                    <a:pt x="3346" y="14400"/>
                    <a:pt x="3346" y="14400"/>
                  </a:cubicBezTo>
                  <a:cubicBezTo>
                    <a:pt x="2130" y="17217"/>
                    <a:pt x="2130" y="17530"/>
                    <a:pt x="2434" y="17530"/>
                  </a:cubicBezTo>
                  <a:cubicBezTo>
                    <a:pt x="3955" y="19096"/>
                    <a:pt x="3955" y="19096"/>
                    <a:pt x="3955" y="19096"/>
                  </a:cubicBezTo>
                  <a:cubicBezTo>
                    <a:pt x="4259" y="19409"/>
                    <a:pt x="4259" y="19409"/>
                    <a:pt x="4259" y="19409"/>
                  </a:cubicBezTo>
                  <a:cubicBezTo>
                    <a:pt x="4259" y="19409"/>
                    <a:pt x="4259" y="19409"/>
                    <a:pt x="4259" y="19409"/>
                  </a:cubicBezTo>
                  <a:cubicBezTo>
                    <a:pt x="4563" y="19409"/>
                    <a:pt x="4868" y="19409"/>
                    <a:pt x="7301" y="18157"/>
                  </a:cubicBezTo>
                  <a:cubicBezTo>
                    <a:pt x="8214" y="18470"/>
                    <a:pt x="8214" y="18470"/>
                    <a:pt x="8214" y="18470"/>
                  </a:cubicBezTo>
                  <a:cubicBezTo>
                    <a:pt x="9127" y="21600"/>
                    <a:pt x="9431" y="21600"/>
                    <a:pt x="9735" y="21600"/>
                  </a:cubicBezTo>
                  <a:cubicBezTo>
                    <a:pt x="11865" y="21600"/>
                    <a:pt x="11865" y="21600"/>
                    <a:pt x="11865" y="21600"/>
                  </a:cubicBezTo>
                  <a:cubicBezTo>
                    <a:pt x="12169" y="21600"/>
                    <a:pt x="12473" y="21600"/>
                    <a:pt x="13386" y="18470"/>
                  </a:cubicBezTo>
                  <a:cubicBezTo>
                    <a:pt x="14299" y="18157"/>
                    <a:pt x="14299" y="18157"/>
                    <a:pt x="14299" y="18157"/>
                  </a:cubicBezTo>
                  <a:cubicBezTo>
                    <a:pt x="16124" y="19096"/>
                    <a:pt x="17037" y="19409"/>
                    <a:pt x="17341" y="19409"/>
                  </a:cubicBezTo>
                  <a:cubicBezTo>
                    <a:pt x="17341" y="19409"/>
                    <a:pt x="17341" y="19409"/>
                    <a:pt x="17341" y="19409"/>
                  </a:cubicBezTo>
                  <a:cubicBezTo>
                    <a:pt x="19166" y="17530"/>
                    <a:pt x="19166" y="17530"/>
                    <a:pt x="19166" y="17530"/>
                  </a:cubicBezTo>
                  <a:cubicBezTo>
                    <a:pt x="19470" y="17217"/>
                    <a:pt x="19470" y="17217"/>
                    <a:pt x="18254" y="14400"/>
                  </a:cubicBezTo>
                  <a:cubicBezTo>
                    <a:pt x="18558" y="13461"/>
                    <a:pt x="18558" y="13461"/>
                    <a:pt x="18558" y="13461"/>
                  </a:cubicBezTo>
                  <a:cubicBezTo>
                    <a:pt x="21600" y="12209"/>
                    <a:pt x="21600" y="12209"/>
                    <a:pt x="21600" y="11896"/>
                  </a:cubicBezTo>
                  <a:cubicBezTo>
                    <a:pt x="21600" y="9704"/>
                    <a:pt x="21600" y="9704"/>
                    <a:pt x="21600" y="9704"/>
                  </a:cubicBezTo>
                  <a:cubicBezTo>
                    <a:pt x="21600" y="9391"/>
                    <a:pt x="21600" y="9078"/>
                    <a:pt x="18558" y="8139"/>
                  </a:cubicBezTo>
                  <a:close/>
                  <a:moveTo>
                    <a:pt x="10648" y="14400"/>
                  </a:moveTo>
                  <a:cubicBezTo>
                    <a:pt x="8823" y="14400"/>
                    <a:pt x="6997" y="12835"/>
                    <a:pt x="6997" y="10643"/>
                  </a:cubicBezTo>
                  <a:cubicBezTo>
                    <a:pt x="6997" y="8765"/>
                    <a:pt x="8823" y="6887"/>
                    <a:pt x="10648" y="6887"/>
                  </a:cubicBezTo>
                  <a:cubicBezTo>
                    <a:pt x="12777" y="6887"/>
                    <a:pt x="14603" y="8765"/>
                    <a:pt x="14603" y="10643"/>
                  </a:cubicBezTo>
                  <a:cubicBezTo>
                    <a:pt x="14603" y="12835"/>
                    <a:pt x="12777" y="14400"/>
                    <a:pt x="10648" y="14400"/>
                  </a:cubicBezTo>
                  <a:close/>
                  <a:moveTo>
                    <a:pt x="10648" y="14400"/>
                  </a:moveTo>
                  <a:cubicBezTo>
                    <a:pt x="10648" y="14400"/>
                    <a:pt x="10648" y="14400"/>
                    <a:pt x="10648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F41DB74E-AB77-43DA-9A06-D2F703152E57}"/>
                </a:ext>
              </a:extLst>
            </p:cNvPr>
            <p:cNvSpPr/>
            <p:nvPr/>
          </p:nvSpPr>
          <p:spPr>
            <a:xfrm>
              <a:off x="863440" y="2443257"/>
              <a:ext cx="189288" cy="1834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23" y="7941"/>
                  </a:moveTo>
                  <a:cubicBezTo>
                    <a:pt x="18514" y="7306"/>
                    <a:pt x="18514" y="7306"/>
                    <a:pt x="18514" y="7306"/>
                  </a:cubicBezTo>
                  <a:cubicBezTo>
                    <a:pt x="19749" y="4129"/>
                    <a:pt x="19440" y="4129"/>
                    <a:pt x="19440" y="3812"/>
                  </a:cubicBezTo>
                  <a:cubicBezTo>
                    <a:pt x="17589" y="2224"/>
                    <a:pt x="17589" y="2224"/>
                    <a:pt x="17589" y="2224"/>
                  </a:cubicBezTo>
                  <a:cubicBezTo>
                    <a:pt x="17589" y="2224"/>
                    <a:pt x="17589" y="2224"/>
                    <a:pt x="17589" y="2224"/>
                  </a:cubicBezTo>
                  <a:cubicBezTo>
                    <a:pt x="17280" y="2224"/>
                    <a:pt x="17280" y="2224"/>
                    <a:pt x="17280" y="2224"/>
                  </a:cubicBezTo>
                  <a:cubicBezTo>
                    <a:pt x="17280" y="2224"/>
                    <a:pt x="16971" y="2224"/>
                    <a:pt x="14503" y="3176"/>
                  </a:cubicBezTo>
                  <a:cubicBezTo>
                    <a:pt x="13577" y="2859"/>
                    <a:pt x="13577" y="2859"/>
                    <a:pt x="13577" y="2859"/>
                  </a:cubicBezTo>
                  <a:cubicBezTo>
                    <a:pt x="12343" y="0"/>
                    <a:pt x="12343" y="0"/>
                    <a:pt x="12034" y="0"/>
                  </a:cubicBezTo>
                  <a:cubicBezTo>
                    <a:pt x="9566" y="0"/>
                    <a:pt x="9566" y="0"/>
                    <a:pt x="9566" y="0"/>
                  </a:cubicBezTo>
                  <a:cubicBezTo>
                    <a:pt x="9257" y="0"/>
                    <a:pt x="9257" y="0"/>
                    <a:pt x="8023" y="2859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629" y="2224"/>
                    <a:pt x="4320" y="2224"/>
                  </a:cubicBezTo>
                  <a:cubicBezTo>
                    <a:pt x="4011" y="2224"/>
                    <a:pt x="4011" y="2224"/>
                    <a:pt x="4011" y="2224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2160" y="4129"/>
                    <a:pt x="2160" y="4129"/>
                    <a:pt x="3394" y="7306"/>
                  </a:cubicBezTo>
                  <a:cubicBezTo>
                    <a:pt x="3086" y="7941"/>
                    <a:pt x="3086" y="7941"/>
                    <a:pt x="3086" y="7941"/>
                  </a:cubicBezTo>
                  <a:cubicBezTo>
                    <a:pt x="0" y="9212"/>
                    <a:pt x="0" y="9212"/>
                    <a:pt x="0" y="9847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388"/>
                    <a:pt x="0" y="12388"/>
                    <a:pt x="3086" y="13659"/>
                  </a:cubicBezTo>
                  <a:cubicBezTo>
                    <a:pt x="3394" y="14612"/>
                    <a:pt x="3394" y="14612"/>
                    <a:pt x="3394" y="14612"/>
                  </a:cubicBezTo>
                  <a:cubicBezTo>
                    <a:pt x="2160" y="17471"/>
                    <a:pt x="2160" y="17471"/>
                    <a:pt x="2469" y="17788"/>
                  </a:cubicBezTo>
                  <a:cubicBezTo>
                    <a:pt x="4011" y="19376"/>
                    <a:pt x="4011" y="19376"/>
                    <a:pt x="4011" y="19376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629" y="19694"/>
                    <a:pt x="4937" y="19694"/>
                    <a:pt x="7406" y="18424"/>
                  </a:cubicBezTo>
                  <a:cubicBezTo>
                    <a:pt x="8023" y="18741"/>
                    <a:pt x="8023" y="18741"/>
                    <a:pt x="8023" y="18741"/>
                  </a:cubicBezTo>
                  <a:cubicBezTo>
                    <a:pt x="9257" y="21600"/>
                    <a:pt x="9566" y="21600"/>
                    <a:pt x="9874" y="21600"/>
                  </a:cubicBezTo>
                  <a:cubicBezTo>
                    <a:pt x="12034" y="21600"/>
                    <a:pt x="12034" y="21600"/>
                    <a:pt x="12034" y="21600"/>
                  </a:cubicBezTo>
                  <a:cubicBezTo>
                    <a:pt x="12343" y="21600"/>
                    <a:pt x="12651" y="21600"/>
                    <a:pt x="13577" y="18741"/>
                  </a:cubicBezTo>
                  <a:cubicBezTo>
                    <a:pt x="14503" y="18424"/>
                    <a:pt x="14503" y="18424"/>
                    <a:pt x="14503" y="18424"/>
                  </a:cubicBezTo>
                  <a:cubicBezTo>
                    <a:pt x="16354" y="19059"/>
                    <a:pt x="17280" y="19376"/>
                    <a:pt x="17280" y="19376"/>
                  </a:cubicBezTo>
                  <a:cubicBezTo>
                    <a:pt x="17589" y="19376"/>
                    <a:pt x="17589" y="19376"/>
                    <a:pt x="17589" y="19376"/>
                  </a:cubicBezTo>
                  <a:cubicBezTo>
                    <a:pt x="19440" y="17788"/>
                    <a:pt x="19440" y="17788"/>
                    <a:pt x="19440" y="17788"/>
                  </a:cubicBezTo>
                  <a:cubicBezTo>
                    <a:pt x="19749" y="17471"/>
                    <a:pt x="19749" y="17471"/>
                    <a:pt x="18514" y="14612"/>
                  </a:cubicBezTo>
                  <a:cubicBezTo>
                    <a:pt x="18823" y="13659"/>
                    <a:pt x="18823" y="13659"/>
                    <a:pt x="18823" y="13659"/>
                  </a:cubicBezTo>
                  <a:cubicBezTo>
                    <a:pt x="21600" y="12388"/>
                    <a:pt x="21600" y="12388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212"/>
                    <a:pt x="21600" y="9212"/>
                    <a:pt x="18823" y="7941"/>
                  </a:cubicBezTo>
                  <a:close/>
                  <a:moveTo>
                    <a:pt x="10800" y="14612"/>
                  </a:moveTo>
                  <a:cubicBezTo>
                    <a:pt x="8949" y="14612"/>
                    <a:pt x="7097" y="13024"/>
                    <a:pt x="7097" y="10800"/>
                  </a:cubicBezTo>
                  <a:cubicBezTo>
                    <a:pt x="7097" y="8576"/>
                    <a:pt x="8949" y="6988"/>
                    <a:pt x="10800" y="6988"/>
                  </a:cubicBezTo>
                  <a:cubicBezTo>
                    <a:pt x="12960" y="6988"/>
                    <a:pt x="14811" y="8576"/>
                    <a:pt x="14811" y="10800"/>
                  </a:cubicBezTo>
                  <a:cubicBezTo>
                    <a:pt x="14811" y="13024"/>
                    <a:pt x="12960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251E28CF-8EFB-4710-B318-C78EC848BCB9}"/>
                </a:ext>
              </a:extLst>
            </p:cNvPr>
            <p:cNvSpPr/>
            <p:nvPr/>
          </p:nvSpPr>
          <p:spPr>
            <a:xfrm>
              <a:off x="1911799" y="447008"/>
              <a:ext cx="203848" cy="202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74" y="8064"/>
                  </a:moveTo>
                  <a:cubicBezTo>
                    <a:pt x="18189" y="7200"/>
                    <a:pt x="18189" y="7200"/>
                    <a:pt x="18189" y="7200"/>
                  </a:cubicBezTo>
                  <a:cubicBezTo>
                    <a:pt x="19611" y="4320"/>
                    <a:pt x="19326" y="4320"/>
                    <a:pt x="19042" y="4032"/>
                  </a:cubicBezTo>
                  <a:cubicBezTo>
                    <a:pt x="17621" y="2304"/>
                    <a:pt x="17621" y="2304"/>
                    <a:pt x="17621" y="2304"/>
                  </a:cubicBezTo>
                  <a:cubicBezTo>
                    <a:pt x="17337" y="2304"/>
                    <a:pt x="17337" y="2304"/>
                    <a:pt x="17337" y="2304"/>
                  </a:cubicBezTo>
                  <a:cubicBezTo>
                    <a:pt x="17337" y="2304"/>
                    <a:pt x="17337" y="2304"/>
                    <a:pt x="17337" y="2304"/>
                  </a:cubicBezTo>
                  <a:cubicBezTo>
                    <a:pt x="17053" y="2304"/>
                    <a:pt x="16768" y="2304"/>
                    <a:pt x="14495" y="3456"/>
                  </a:cubicBezTo>
                  <a:cubicBezTo>
                    <a:pt x="13642" y="3168"/>
                    <a:pt x="13642" y="3168"/>
                    <a:pt x="13642" y="3168"/>
                  </a:cubicBezTo>
                  <a:cubicBezTo>
                    <a:pt x="12221" y="0"/>
                    <a:pt x="12221" y="0"/>
                    <a:pt x="11937" y="0"/>
                  </a:cubicBezTo>
                  <a:cubicBezTo>
                    <a:pt x="9663" y="0"/>
                    <a:pt x="9663" y="0"/>
                    <a:pt x="9663" y="0"/>
                  </a:cubicBezTo>
                  <a:cubicBezTo>
                    <a:pt x="9379" y="0"/>
                    <a:pt x="9095" y="0"/>
                    <a:pt x="7958" y="3168"/>
                  </a:cubicBezTo>
                  <a:cubicBezTo>
                    <a:pt x="7105" y="3456"/>
                    <a:pt x="7105" y="3456"/>
                    <a:pt x="7105" y="3456"/>
                  </a:cubicBezTo>
                  <a:cubicBezTo>
                    <a:pt x="5400" y="2592"/>
                    <a:pt x="4547" y="2304"/>
                    <a:pt x="4263" y="2304"/>
                  </a:cubicBezTo>
                  <a:cubicBezTo>
                    <a:pt x="3979" y="2304"/>
                    <a:pt x="3979" y="2304"/>
                    <a:pt x="3979" y="2304"/>
                  </a:cubicBezTo>
                  <a:cubicBezTo>
                    <a:pt x="2274" y="4032"/>
                    <a:pt x="2274" y="4032"/>
                    <a:pt x="2274" y="4032"/>
                  </a:cubicBezTo>
                  <a:cubicBezTo>
                    <a:pt x="1989" y="4320"/>
                    <a:pt x="1989" y="4320"/>
                    <a:pt x="3411" y="7200"/>
                  </a:cubicBezTo>
                  <a:cubicBezTo>
                    <a:pt x="3126" y="8064"/>
                    <a:pt x="3126" y="8064"/>
                    <a:pt x="3126" y="8064"/>
                  </a:cubicBezTo>
                  <a:cubicBezTo>
                    <a:pt x="0" y="9216"/>
                    <a:pt x="0" y="9504"/>
                    <a:pt x="0" y="9792"/>
                  </a:cubicBezTo>
                  <a:cubicBezTo>
                    <a:pt x="0" y="12096"/>
                    <a:pt x="0" y="12096"/>
                    <a:pt x="0" y="12096"/>
                  </a:cubicBezTo>
                  <a:cubicBezTo>
                    <a:pt x="0" y="12384"/>
                    <a:pt x="0" y="12384"/>
                    <a:pt x="3126" y="13536"/>
                  </a:cubicBezTo>
                  <a:cubicBezTo>
                    <a:pt x="3411" y="14400"/>
                    <a:pt x="3411" y="14400"/>
                    <a:pt x="3411" y="14400"/>
                  </a:cubicBezTo>
                  <a:cubicBezTo>
                    <a:pt x="1989" y="17280"/>
                    <a:pt x="2274" y="17280"/>
                    <a:pt x="2558" y="17568"/>
                  </a:cubicBezTo>
                  <a:cubicBezTo>
                    <a:pt x="3979" y="19296"/>
                    <a:pt x="3979" y="19296"/>
                    <a:pt x="3979" y="19296"/>
                  </a:cubicBezTo>
                  <a:cubicBezTo>
                    <a:pt x="4263" y="19296"/>
                    <a:pt x="4263" y="19296"/>
                    <a:pt x="4263" y="19296"/>
                  </a:cubicBezTo>
                  <a:cubicBezTo>
                    <a:pt x="4263" y="19296"/>
                    <a:pt x="4263" y="19296"/>
                    <a:pt x="4263" y="19296"/>
                  </a:cubicBezTo>
                  <a:cubicBezTo>
                    <a:pt x="4547" y="19296"/>
                    <a:pt x="4832" y="19296"/>
                    <a:pt x="7105" y="18144"/>
                  </a:cubicBezTo>
                  <a:cubicBezTo>
                    <a:pt x="8242" y="18432"/>
                    <a:pt x="8242" y="18432"/>
                    <a:pt x="8242" y="18432"/>
                  </a:cubicBezTo>
                  <a:cubicBezTo>
                    <a:pt x="9379" y="21600"/>
                    <a:pt x="9379" y="21600"/>
                    <a:pt x="9663" y="21600"/>
                  </a:cubicBezTo>
                  <a:cubicBezTo>
                    <a:pt x="11937" y="21600"/>
                    <a:pt x="11937" y="21600"/>
                    <a:pt x="11937" y="21600"/>
                  </a:cubicBezTo>
                  <a:cubicBezTo>
                    <a:pt x="12221" y="21600"/>
                    <a:pt x="12505" y="21600"/>
                    <a:pt x="13642" y="18432"/>
                  </a:cubicBezTo>
                  <a:cubicBezTo>
                    <a:pt x="14495" y="18144"/>
                    <a:pt x="14495" y="18144"/>
                    <a:pt x="14495" y="18144"/>
                  </a:cubicBezTo>
                  <a:cubicBezTo>
                    <a:pt x="16200" y="19008"/>
                    <a:pt x="17053" y="19296"/>
                    <a:pt x="17337" y="19296"/>
                  </a:cubicBezTo>
                  <a:cubicBezTo>
                    <a:pt x="17621" y="19296"/>
                    <a:pt x="17621" y="19296"/>
                    <a:pt x="17621" y="19296"/>
                  </a:cubicBezTo>
                  <a:cubicBezTo>
                    <a:pt x="19326" y="17568"/>
                    <a:pt x="19326" y="17568"/>
                    <a:pt x="19326" y="17568"/>
                  </a:cubicBezTo>
                  <a:cubicBezTo>
                    <a:pt x="19611" y="17280"/>
                    <a:pt x="19611" y="17280"/>
                    <a:pt x="18189" y="14400"/>
                  </a:cubicBezTo>
                  <a:cubicBezTo>
                    <a:pt x="18758" y="13536"/>
                    <a:pt x="18758" y="13536"/>
                    <a:pt x="18758" y="13536"/>
                  </a:cubicBezTo>
                  <a:cubicBezTo>
                    <a:pt x="21600" y="12384"/>
                    <a:pt x="21600" y="12096"/>
                    <a:pt x="21600" y="11808"/>
                  </a:cubicBezTo>
                  <a:cubicBezTo>
                    <a:pt x="21600" y="9504"/>
                    <a:pt x="21600" y="9504"/>
                    <a:pt x="21600" y="9504"/>
                  </a:cubicBezTo>
                  <a:cubicBezTo>
                    <a:pt x="21600" y="9216"/>
                    <a:pt x="21600" y="9216"/>
                    <a:pt x="18474" y="8064"/>
                  </a:cubicBezTo>
                  <a:close/>
                  <a:moveTo>
                    <a:pt x="10800" y="14400"/>
                  </a:moveTo>
                  <a:cubicBezTo>
                    <a:pt x="8811" y="14400"/>
                    <a:pt x="7105" y="12960"/>
                    <a:pt x="7105" y="10944"/>
                  </a:cubicBezTo>
                  <a:cubicBezTo>
                    <a:pt x="7105" y="8640"/>
                    <a:pt x="8811" y="7200"/>
                    <a:pt x="10800" y="7200"/>
                  </a:cubicBezTo>
                  <a:cubicBezTo>
                    <a:pt x="12789" y="7200"/>
                    <a:pt x="14495" y="8640"/>
                    <a:pt x="14495" y="10944"/>
                  </a:cubicBezTo>
                  <a:cubicBezTo>
                    <a:pt x="14495" y="12960"/>
                    <a:pt x="12789" y="14400"/>
                    <a:pt x="10800" y="14400"/>
                  </a:cubicBezTo>
                  <a:close/>
                  <a:moveTo>
                    <a:pt x="10800" y="14400"/>
                  </a:moveTo>
                  <a:cubicBezTo>
                    <a:pt x="10800" y="14400"/>
                    <a:pt x="10800" y="14400"/>
                    <a:pt x="10800" y="14400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612CF0E2-599E-419F-8FF4-B074900166C5}"/>
                </a:ext>
              </a:extLst>
            </p:cNvPr>
            <p:cNvSpPr/>
            <p:nvPr/>
          </p:nvSpPr>
          <p:spPr>
            <a:xfrm>
              <a:off x="1786578" y="215495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3812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1906"/>
                    <a:pt x="4320" y="1906"/>
                  </a:cubicBezTo>
                  <a:cubicBezTo>
                    <a:pt x="3703" y="1906"/>
                    <a:pt x="3703" y="1906"/>
                    <a:pt x="3703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3812"/>
                    <a:pt x="1851" y="3812"/>
                    <a:pt x="3086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1435"/>
                    <a:pt x="0" y="11435"/>
                    <a:pt x="0" y="11435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086" y="13976"/>
                    <a:pt x="3086" y="13976"/>
                    <a:pt x="3086" y="13976"/>
                  </a:cubicBezTo>
                  <a:cubicBezTo>
                    <a:pt x="1851" y="17153"/>
                    <a:pt x="1851" y="17153"/>
                    <a:pt x="2469" y="17153"/>
                  </a:cubicBezTo>
                  <a:cubicBezTo>
                    <a:pt x="3703" y="19059"/>
                    <a:pt x="3703" y="19059"/>
                    <a:pt x="3703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7788"/>
                    <a:pt x="14194" y="17788"/>
                    <a:pt x="14194" y="17788"/>
                  </a:cubicBezTo>
                  <a:cubicBezTo>
                    <a:pt x="16046" y="18424"/>
                    <a:pt x="16663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131" y="17153"/>
                    <a:pt x="19131" y="17153"/>
                    <a:pt x="17897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259"/>
                    <a:pt x="8640" y="6988"/>
                    <a:pt x="10491" y="6988"/>
                  </a:cubicBezTo>
                  <a:cubicBezTo>
                    <a:pt x="12960" y="6988"/>
                    <a:pt x="14194" y="8259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9EA4F433-678D-4DD1-B04B-7F7DADCC7AA5}"/>
                </a:ext>
              </a:extLst>
            </p:cNvPr>
            <p:cNvSpPr/>
            <p:nvPr/>
          </p:nvSpPr>
          <p:spPr>
            <a:xfrm>
              <a:off x="979924" y="1437124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8259"/>
                  </a:moveTo>
                  <a:cubicBezTo>
                    <a:pt x="18424" y="7624"/>
                    <a:pt x="18424" y="7624"/>
                    <a:pt x="18424" y="7624"/>
                  </a:cubicBezTo>
                  <a:cubicBezTo>
                    <a:pt x="19694" y="4447"/>
                    <a:pt x="19694" y="4447"/>
                    <a:pt x="19059" y="4447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153" y="2541"/>
                    <a:pt x="17153" y="2541"/>
                    <a:pt x="17153" y="2541"/>
                  </a:cubicBezTo>
                  <a:cubicBezTo>
                    <a:pt x="17153" y="2541"/>
                    <a:pt x="17153" y="2541"/>
                    <a:pt x="14612" y="3812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071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8894" y="0"/>
                    <a:pt x="8894" y="0"/>
                    <a:pt x="8259" y="3176"/>
                  </a:cubicBezTo>
                  <a:cubicBezTo>
                    <a:pt x="6988" y="3812"/>
                    <a:pt x="6988" y="3812"/>
                    <a:pt x="6988" y="3812"/>
                  </a:cubicBezTo>
                  <a:cubicBezTo>
                    <a:pt x="5082" y="3176"/>
                    <a:pt x="4447" y="2541"/>
                    <a:pt x="3812" y="2541"/>
                  </a:cubicBezTo>
                  <a:cubicBezTo>
                    <a:pt x="3812" y="2541"/>
                    <a:pt x="3812" y="2541"/>
                    <a:pt x="3812" y="2541"/>
                  </a:cubicBezTo>
                  <a:cubicBezTo>
                    <a:pt x="1906" y="4447"/>
                    <a:pt x="1906" y="4447"/>
                    <a:pt x="1906" y="4447"/>
                  </a:cubicBezTo>
                  <a:cubicBezTo>
                    <a:pt x="1906" y="4447"/>
                    <a:pt x="1906" y="4447"/>
                    <a:pt x="3176" y="7624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9529"/>
                    <a:pt x="0" y="9529"/>
                    <a:pt x="0" y="10165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2541" y="13976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788"/>
                    <a:pt x="1906" y="17788"/>
                    <a:pt x="1906" y="17788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4447" y="19694"/>
                    <a:pt x="4447" y="19694"/>
                    <a:pt x="4447" y="19694"/>
                  </a:cubicBezTo>
                  <a:cubicBezTo>
                    <a:pt x="4447" y="19694"/>
                    <a:pt x="4447" y="19694"/>
                    <a:pt x="6988" y="18424"/>
                  </a:cubicBezTo>
                  <a:cubicBezTo>
                    <a:pt x="8259" y="19059"/>
                    <a:pt x="8259" y="19059"/>
                    <a:pt x="8259" y="19059"/>
                  </a:cubicBezTo>
                  <a:cubicBezTo>
                    <a:pt x="8894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071" y="21600"/>
                    <a:pt x="12706" y="21600"/>
                    <a:pt x="13341" y="19059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5882" y="19059"/>
                    <a:pt x="17153" y="19694"/>
                    <a:pt x="17153" y="19694"/>
                  </a:cubicBezTo>
                  <a:cubicBezTo>
                    <a:pt x="17788" y="19694"/>
                    <a:pt x="17788" y="19694"/>
                    <a:pt x="17788" y="19694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788"/>
                    <a:pt x="19694" y="17788"/>
                    <a:pt x="18424" y="14612"/>
                  </a:cubicBezTo>
                  <a:cubicBezTo>
                    <a:pt x="19059" y="13976"/>
                    <a:pt x="19059" y="13976"/>
                    <a:pt x="19059" y="13976"/>
                  </a:cubicBezTo>
                  <a:cubicBezTo>
                    <a:pt x="21600" y="12706"/>
                    <a:pt x="21600" y="12706"/>
                    <a:pt x="21600" y="12071"/>
                  </a:cubicBezTo>
                  <a:cubicBezTo>
                    <a:pt x="21600" y="10165"/>
                    <a:pt x="21600" y="10165"/>
                    <a:pt x="21600" y="10165"/>
                  </a:cubicBezTo>
                  <a:cubicBezTo>
                    <a:pt x="21600" y="9529"/>
                    <a:pt x="21600" y="9529"/>
                    <a:pt x="19059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3341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3341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62484225-1EEC-4DA1-BF09-777F3B374120}"/>
                </a:ext>
              </a:extLst>
            </p:cNvPr>
            <p:cNvSpPr/>
            <p:nvPr/>
          </p:nvSpPr>
          <p:spPr>
            <a:xfrm>
              <a:off x="1025061" y="1869572"/>
              <a:ext cx="94645" cy="917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7624"/>
                    <a:pt x="17897" y="7624"/>
                    <a:pt x="17897" y="7624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6663" y="2541"/>
                    <a:pt x="16663" y="2541"/>
                    <a:pt x="14194" y="3812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6789" y="3812"/>
                    <a:pt x="6789" y="3812"/>
                    <a:pt x="6789" y="3812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3703" y="2541"/>
                    <a:pt x="3703" y="2541"/>
                    <a:pt x="3703" y="2541"/>
                  </a:cubicBezTo>
                  <a:cubicBezTo>
                    <a:pt x="2469" y="4447"/>
                    <a:pt x="2469" y="4447"/>
                    <a:pt x="2469" y="4447"/>
                  </a:cubicBezTo>
                  <a:cubicBezTo>
                    <a:pt x="1851" y="4447"/>
                    <a:pt x="1851" y="4447"/>
                    <a:pt x="3086" y="7624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10165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3086" y="13976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788"/>
                    <a:pt x="1851" y="17788"/>
                    <a:pt x="2469" y="17788"/>
                  </a:cubicBezTo>
                  <a:cubicBezTo>
                    <a:pt x="3703" y="19694"/>
                    <a:pt x="3703" y="19694"/>
                    <a:pt x="3703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937" y="19694"/>
                    <a:pt x="6789" y="18424"/>
                  </a:cubicBezTo>
                  <a:cubicBezTo>
                    <a:pt x="8023" y="19059"/>
                    <a:pt x="8023" y="19059"/>
                    <a:pt x="8023" y="19059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9059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694"/>
                    <a:pt x="17280" y="19694"/>
                  </a:cubicBezTo>
                  <a:cubicBezTo>
                    <a:pt x="17280" y="19694"/>
                    <a:pt x="17280" y="19694"/>
                    <a:pt x="17280" y="19694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788"/>
                    <a:pt x="19131" y="17153"/>
                    <a:pt x="17897" y="14612"/>
                  </a:cubicBezTo>
                  <a:cubicBezTo>
                    <a:pt x="18514" y="13976"/>
                    <a:pt x="18514" y="13976"/>
                    <a:pt x="18514" y="13976"/>
                  </a:cubicBezTo>
                  <a:cubicBezTo>
                    <a:pt x="21600" y="12706"/>
                    <a:pt x="21600" y="12706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3341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3341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E6E52432-43CC-4BA2-B400-7216C944EF08}"/>
                </a:ext>
              </a:extLst>
            </p:cNvPr>
            <p:cNvSpPr/>
            <p:nvPr/>
          </p:nvSpPr>
          <p:spPr>
            <a:xfrm>
              <a:off x="674153" y="1744351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8259"/>
                  </a:moveTo>
                  <a:cubicBezTo>
                    <a:pt x="18424" y="7624"/>
                    <a:pt x="18424" y="7624"/>
                    <a:pt x="18424" y="7624"/>
                  </a:cubicBezTo>
                  <a:cubicBezTo>
                    <a:pt x="19694" y="4447"/>
                    <a:pt x="19694" y="4447"/>
                    <a:pt x="19059" y="4447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153" y="2541"/>
                    <a:pt x="17153" y="2541"/>
                    <a:pt x="17153" y="2541"/>
                  </a:cubicBezTo>
                  <a:cubicBezTo>
                    <a:pt x="17153" y="2541"/>
                    <a:pt x="17153" y="2541"/>
                    <a:pt x="14612" y="3812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071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8894" y="0"/>
                    <a:pt x="8894" y="0"/>
                    <a:pt x="8259" y="3176"/>
                  </a:cubicBezTo>
                  <a:cubicBezTo>
                    <a:pt x="6988" y="3812"/>
                    <a:pt x="6988" y="3812"/>
                    <a:pt x="6988" y="3812"/>
                  </a:cubicBezTo>
                  <a:cubicBezTo>
                    <a:pt x="5082" y="2541"/>
                    <a:pt x="4447" y="2541"/>
                    <a:pt x="3812" y="2541"/>
                  </a:cubicBezTo>
                  <a:cubicBezTo>
                    <a:pt x="3812" y="2541"/>
                    <a:pt x="3812" y="2541"/>
                    <a:pt x="3812" y="2541"/>
                  </a:cubicBezTo>
                  <a:cubicBezTo>
                    <a:pt x="1906" y="4447"/>
                    <a:pt x="1906" y="4447"/>
                    <a:pt x="1906" y="4447"/>
                  </a:cubicBezTo>
                  <a:cubicBezTo>
                    <a:pt x="1906" y="4447"/>
                    <a:pt x="1906" y="4447"/>
                    <a:pt x="3176" y="7624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9529"/>
                    <a:pt x="0" y="9529"/>
                    <a:pt x="0" y="10165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2541" y="13976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788"/>
                    <a:pt x="1906" y="17788"/>
                    <a:pt x="1906" y="17788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4447" y="19694"/>
                    <a:pt x="4447" y="19694"/>
                    <a:pt x="4447" y="19694"/>
                  </a:cubicBezTo>
                  <a:cubicBezTo>
                    <a:pt x="4447" y="19694"/>
                    <a:pt x="4447" y="19694"/>
                    <a:pt x="6988" y="18424"/>
                  </a:cubicBezTo>
                  <a:cubicBezTo>
                    <a:pt x="8259" y="19059"/>
                    <a:pt x="8259" y="19059"/>
                    <a:pt x="8259" y="19059"/>
                  </a:cubicBezTo>
                  <a:cubicBezTo>
                    <a:pt x="8894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071" y="21600"/>
                    <a:pt x="12706" y="21600"/>
                    <a:pt x="13341" y="19059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5882" y="19059"/>
                    <a:pt x="17153" y="19694"/>
                    <a:pt x="17153" y="19694"/>
                  </a:cubicBezTo>
                  <a:cubicBezTo>
                    <a:pt x="17788" y="19694"/>
                    <a:pt x="17788" y="19694"/>
                    <a:pt x="17788" y="19694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788"/>
                    <a:pt x="19694" y="17788"/>
                    <a:pt x="18424" y="14612"/>
                  </a:cubicBezTo>
                  <a:cubicBezTo>
                    <a:pt x="19059" y="13976"/>
                    <a:pt x="19059" y="13976"/>
                    <a:pt x="19059" y="13976"/>
                  </a:cubicBezTo>
                  <a:cubicBezTo>
                    <a:pt x="21600" y="12706"/>
                    <a:pt x="21600" y="12706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9059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3341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3341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3AC6401A-D2F3-4E12-9C8F-540C2CB7A970}"/>
                </a:ext>
              </a:extLst>
            </p:cNvPr>
            <p:cNvSpPr/>
            <p:nvPr/>
          </p:nvSpPr>
          <p:spPr>
            <a:xfrm>
              <a:off x="1713775" y="1159018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4320" y="2541"/>
                    <a:pt x="4320" y="2541"/>
                    <a:pt x="4320" y="2541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6988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706"/>
                    <a:pt x="3086" y="13341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2469" y="17153"/>
                    <a:pt x="2469" y="17788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937" y="19694"/>
                    <a:pt x="7406" y="18424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749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8894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811" y="8894"/>
                    <a:pt x="14811" y="10800"/>
                  </a:cubicBezTo>
                  <a:cubicBezTo>
                    <a:pt x="14811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878DC50A-8556-4EB4-9828-7DD463C6E231}"/>
                </a:ext>
              </a:extLst>
            </p:cNvPr>
            <p:cNvSpPr/>
            <p:nvPr/>
          </p:nvSpPr>
          <p:spPr>
            <a:xfrm>
              <a:off x="1489543" y="994484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6663" y="2541"/>
                    <a:pt x="16663" y="2541"/>
                    <a:pt x="14194" y="3176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1726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3703" y="2541"/>
                    <a:pt x="3703" y="2541"/>
                    <a:pt x="3703" y="2541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7624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3086" y="13976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1851" y="17788"/>
                    <a:pt x="2469" y="17788"/>
                  </a:cubicBezTo>
                  <a:cubicBezTo>
                    <a:pt x="3703" y="19694"/>
                    <a:pt x="3703" y="19694"/>
                    <a:pt x="3703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6789" y="18424"/>
                  </a:cubicBezTo>
                  <a:cubicBezTo>
                    <a:pt x="8023" y="19059"/>
                    <a:pt x="8023" y="19059"/>
                    <a:pt x="8023" y="19059"/>
                  </a:cubicBezTo>
                  <a:cubicBezTo>
                    <a:pt x="9257" y="21600"/>
                    <a:pt x="9257" y="21600"/>
                    <a:pt x="9257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9059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694"/>
                    <a:pt x="17280" y="19694"/>
                  </a:cubicBezTo>
                  <a:cubicBezTo>
                    <a:pt x="17280" y="19694"/>
                    <a:pt x="17280" y="19694"/>
                    <a:pt x="17280" y="19694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131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F4876B1C-BD45-4B01-8C7B-7C872CA686A4}"/>
                </a:ext>
              </a:extLst>
            </p:cNvPr>
            <p:cNvSpPr/>
            <p:nvPr/>
          </p:nvSpPr>
          <p:spPr>
            <a:xfrm>
              <a:off x="1808418" y="2103997"/>
              <a:ext cx="94645" cy="917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8514" y="6988"/>
                    <a:pt x="18514" y="6988"/>
                    <a:pt x="18514" y="6988"/>
                  </a:cubicBezTo>
                  <a:cubicBezTo>
                    <a:pt x="19749" y="3812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937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2469" y="3812"/>
                    <a:pt x="1851" y="3812"/>
                    <a:pt x="3703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703" y="13976"/>
                    <a:pt x="3703" y="13976"/>
                    <a:pt x="3703" y="13976"/>
                  </a:cubicBezTo>
                  <a:cubicBezTo>
                    <a:pt x="2469" y="17153"/>
                    <a:pt x="2469" y="17153"/>
                    <a:pt x="2469" y="17153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7788"/>
                    <a:pt x="14194" y="17788"/>
                    <a:pt x="14194" y="17788"/>
                  </a:cubicBezTo>
                  <a:cubicBezTo>
                    <a:pt x="16046" y="19059"/>
                    <a:pt x="17280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749" y="17153"/>
                    <a:pt x="19749" y="17153"/>
                    <a:pt x="18514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1109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259"/>
                    <a:pt x="8640" y="6988"/>
                    <a:pt x="11109" y="6988"/>
                  </a:cubicBezTo>
                  <a:cubicBezTo>
                    <a:pt x="12960" y="6988"/>
                    <a:pt x="14811" y="8259"/>
                    <a:pt x="14811" y="10800"/>
                  </a:cubicBezTo>
                  <a:cubicBezTo>
                    <a:pt x="14811" y="12706"/>
                    <a:pt x="12960" y="14612"/>
                    <a:pt x="11109" y="14612"/>
                  </a:cubicBezTo>
                  <a:close/>
                  <a:moveTo>
                    <a:pt x="11109" y="14612"/>
                  </a:moveTo>
                  <a:cubicBezTo>
                    <a:pt x="11109" y="14612"/>
                    <a:pt x="11109" y="14612"/>
                    <a:pt x="11109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0F829584-08EC-4D13-945D-9D1B4DC18EED}"/>
                </a:ext>
              </a:extLst>
            </p:cNvPr>
            <p:cNvSpPr/>
            <p:nvPr/>
          </p:nvSpPr>
          <p:spPr>
            <a:xfrm>
              <a:off x="1687566" y="2398119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8514" y="6988"/>
                    <a:pt x="18514" y="6988"/>
                    <a:pt x="18514" y="6988"/>
                  </a:cubicBezTo>
                  <a:cubicBezTo>
                    <a:pt x="19749" y="3812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320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3812"/>
                    <a:pt x="1851" y="3812"/>
                    <a:pt x="3086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703" y="13976"/>
                    <a:pt x="3703" y="13976"/>
                    <a:pt x="3703" y="13976"/>
                  </a:cubicBezTo>
                  <a:cubicBezTo>
                    <a:pt x="1851" y="17153"/>
                    <a:pt x="2469" y="17153"/>
                    <a:pt x="2469" y="17153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7788"/>
                    <a:pt x="14194" y="17788"/>
                    <a:pt x="14194" y="17788"/>
                  </a:cubicBezTo>
                  <a:cubicBezTo>
                    <a:pt x="16046" y="19059"/>
                    <a:pt x="17280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749" y="17153"/>
                    <a:pt x="19749" y="17153"/>
                    <a:pt x="18514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1109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259"/>
                    <a:pt x="8640" y="6988"/>
                    <a:pt x="11109" y="6988"/>
                  </a:cubicBezTo>
                  <a:cubicBezTo>
                    <a:pt x="12960" y="6988"/>
                    <a:pt x="14811" y="8259"/>
                    <a:pt x="14811" y="10800"/>
                  </a:cubicBezTo>
                  <a:cubicBezTo>
                    <a:pt x="14811" y="12706"/>
                    <a:pt x="12960" y="14612"/>
                    <a:pt x="11109" y="14612"/>
                  </a:cubicBezTo>
                  <a:close/>
                  <a:moveTo>
                    <a:pt x="11109" y="14612"/>
                  </a:moveTo>
                  <a:cubicBezTo>
                    <a:pt x="11109" y="14612"/>
                    <a:pt x="11109" y="14612"/>
                    <a:pt x="11109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86F0F39D-1652-42AC-9937-F0736939A829}"/>
                </a:ext>
              </a:extLst>
            </p:cNvPr>
            <p:cNvSpPr/>
            <p:nvPr/>
          </p:nvSpPr>
          <p:spPr>
            <a:xfrm>
              <a:off x="1489543" y="2221936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6663" y="2541"/>
                    <a:pt x="16663" y="2541"/>
                    <a:pt x="14194" y="3176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1726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3703" y="2541"/>
                    <a:pt x="3703" y="2541"/>
                    <a:pt x="3703" y="2541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6988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3086" y="13341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1851" y="17788"/>
                    <a:pt x="2469" y="17788"/>
                  </a:cubicBezTo>
                  <a:cubicBezTo>
                    <a:pt x="3703" y="19694"/>
                    <a:pt x="3703" y="19694"/>
                    <a:pt x="3703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6789" y="18424"/>
                  </a:cubicBezTo>
                  <a:cubicBezTo>
                    <a:pt x="8023" y="19059"/>
                    <a:pt x="8023" y="19059"/>
                    <a:pt x="8023" y="19059"/>
                  </a:cubicBezTo>
                  <a:cubicBezTo>
                    <a:pt x="9257" y="21600"/>
                    <a:pt x="9257" y="21600"/>
                    <a:pt x="9257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9059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694"/>
                    <a:pt x="17280" y="19694"/>
                  </a:cubicBezTo>
                  <a:cubicBezTo>
                    <a:pt x="17280" y="19694"/>
                    <a:pt x="17280" y="19694"/>
                    <a:pt x="17280" y="19694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131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7C5DC8BA-F655-48CF-AF8E-629B4313D4A7}"/>
                </a:ext>
              </a:extLst>
            </p:cNvPr>
            <p:cNvSpPr/>
            <p:nvPr/>
          </p:nvSpPr>
          <p:spPr>
            <a:xfrm>
              <a:off x="1006133" y="2664577"/>
              <a:ext cx="94645" cy="917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3812"/>
                    <a:pt x="19131" y="3812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320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3812"/>
                    <a:pt x="1851" y="4447"/>
                    <a:pt x="3086" y="6988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8894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2469" y="17153"/>
                    <a:pt x="2469" y="17788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7406" y="18424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749" y="17153"/>
                    <a:pt x="17897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2C73A4B7-9C29-4CA3-823F-FF1976AD82FC}"/>
                </a:ext>
              </a:extLst>
            </p:cNvPr>
            <p:cNvSpPr/>
            <p:nvPr/>
          </p:nvSpPr>
          <p:spPr>
            <a:xfrm>
              <a:off x="601350" y="2505867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8259"/>
                  </a:moveTo>
                  <a:cubicBezTo>
                    <a:pt x="18424" y="6988"/>
                    <a:pt x="18424" y="6988"/>
                    <a:pt x="18424" y="6988"/>
                  </a:cubicBezTo>
                  <a:cubicBezTo>
                    <a:pt x="19694" y="4447"/>
                    <a:pt x="19694" y="3812"/>
                    <a:pt x="19694" y="3812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1906"/>
                    <a:pt x="17788" y="1906"/>
                    <a:pt x="17788" y="1906"/>
                  </a:cubicBezTo>
                  <a:cubicBezTo>
                    <a:pt x="17153" y="1906"/>
                    <a:pt x="17153" y="1906"/>
                    <a:pt x="17153" y="1906"/>
                  </a:cubicBezTo>
                  <a:cubicBezTo>
                    <a:pt x="17153" y="1906"/>
                    <a:pt x="17153" y="1906"/>
                    <a:pt x="14612" y="3176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706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9529" y="0"/>
                    <a:pt x="8894" y="0"/>
                    <a:pt x="8259" y="3176"/>
                  </a:cubicBezTo>
                  <a:cubicBezTo>
                    <a:pt x="6988" y="3176"/>
                    <a:pt x="6988" y="3176"/>
                    <a:pt x="6988" y="3176"/>
                  </a:cubicBezTo>
                  <a:cubicBezTo>
                    <a:pt x="5718" y="2541"/>
                    <a:pt x="4447" y="1906"/>
                    <a:pt x="4447" y="1906"/>
                  </a:cubicBezTo>
                  <a:cubicBezTo>
                    <a:pt x="3812" y="1906"/>
                    <a:pt x="3812" y="1906"/>
                    <a:pt x="3812" y="1906"/>
                  </a:cubicBezTo>
                  <a:cubicBezTo>
                    <a:pt x="1906" y="3812"/>
                    <a:pt x="1906" y="3812"/>
                    <a:pt x="1906" y="3812"/>
                  </a:cubicBezTo>
                  <a:cubicBezTo>
                    <a:pt x="1906" y="4447"/>
                    <a:pt x="1906" y="4447"/>
                    <a:pt x="3176" y="6988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8894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2541" y="13341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153"/>
                    <a:pt x="1906" y="17153"/>
                    <a:pt x="2541" y="17788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4447" y="19059"/>
                    <a:pt x="4447" y="19059"/>
                    <a:pt x="4447" y="19059"/>
                  </a:cubicBezTo>
                  <a:cubicBezTo>
                    <a:pt x="4447" y="19059"/>
                    <a:pt x="4447" y="19059"/>
                    <a:pt x="6988" y="18424"/>
                  </a:cubicBezTo>
                  <a:cubicBezTo>
                    <a:pt x="8259" y="18424"/>
                    <a:pt x="8259" y="18424"/>
                    <a:pt x="8259" y="18424"/>
                  </a:cubicBezTo>
                  <a:cubicBezTo>
                    <a:pt x="9529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706" y="21600"/>
                    <a:pt x="12706" y="21600"/>
                    <a:pt x="13341" y="18424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6518" y="19059"/>
                    <a:pt x="17153" y="19059"/>
                    <a:pt x="17788" y="19059"/>
                  </a:cubicBezTo>
                  <a:cubicBezTo>
                    <a:pt x="17788" y="19059"/>
                    <a:pt x="17788" y="19059"/>
                    <a:pt x="17788" y="19059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153"/>
                    <a:pt x="19694" y="17153"/>
                    <a:pt x="18424" y="14612"/>
                  </a:cubicBezTo>
                  <a:cubicBezTo>
                    <a:pt x="19059" y="13341"/>
                    <a:pt x="19059" y="13341"/>
                    <a:pt x="19059" y="13341"/>
                  </a:cubicBezTo>
                  <a:cubicBezTo>
                    <a:pt x="21600" y="12071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9059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2706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2706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022DA191-8197-4FAA-AC42-E13B5E37D46D}"/>
                </a:ext>
              </a:extLst>
            </p:cNvPr>
            <p:cNvSpPr/>
            <p:nvPr/>
          </p:nvSpPr>
          <p:spPr>
            <a:xfrm>
              <a:off x="569317" y="1841907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8259"/>
                  </a:moveTo>
                  <a:cubicBezTo>
                    <a:pt x="18424" y="6988"/>
                    <a:pt x="18424" y="6988"/>
                    <a:pt x="18424" y="6988"/>
                  </a:cubicBezTo>
                  <a:cubicBezTo>
                    <a:pt x="19694" y="4447"/>
                    <a:pt x="19694" y="4447"/>
                    <a:pt x="19694" y="3812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153" y="2541"/>
                    <a:pt x="17153" y="2541"/>
                    <a:pt x="17153" y="2541"/>
                  </a:cubicBezTo>
                  <a:cubicBezTo>
                    <a:pt x="17153" y="2541"/>
                    <a:pt x="17153" y="2541"/>
                    <a:pt x="14612" y="3176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706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9529" y="0"/>
                    <a:pt x="8894" y="0"/>
                    <a:pt x="8259" y="3176"/>
                  </a:cubicBezTo>
                  <a:cubicBezTo>
                    <a:pt x="6988" y="3176"/>
                    <a:pt x="6988" y="3176"/>
                    <a:pt x="6988" y="3176"/>
                  </a:cubicBezTo>
                  <a:cubicBezTo>
                    <a:pt x="5718" y="2541"/>
                    <a:pt x="4447" y="2541"/>
                    <a:pt x="4447" y="2541"/>
                  </a:cubicBezTo>
                  <a:cubicBezTo>
                    <a:pt x="3812" y="2541"/>
                    <a:pt x="3812" y="2541"/>
                    <a:pt x="3812" y="2541"/>
                  </a:cubicBezTo>
                  <a:cubicBezTo>
                    <a:pt x="1906" y="3812"/>
                    <a:pt x="1906" y="3812"/>
                    <a:pt x="1906" y="3812"/>
                  </a:cubicBezTo>
                  <a:cubicBezTo>
                    <a:pt x="1906" y="4447"/>
                    <a:pt x="1906" y="4447"/>
                    <a:pt x="3176" y="6988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2541" y="13341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153"/>
                    <a:pt x="1906" y="17788"/>
                    <a:pt x="2541" y="17788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4447" y="19694"/>
                    <a:pt x="4447" y="19694"/>
                    <a:pt x="4447" y="19694"/>
                  </a:cubicBezTo>
                  <a:cubicBezTo>
                    <a:pt x="4447" y="19694"/>
                    <a:pt x="4447" y="19694"/>
                    <a:pt x="6988" y="18424"/>
                  </a:cubicBezTo>
                  <a:cubicBezTo>
                    <a:pt x="8259" y="19059"/>
                    <a:pt x="8259" y="19059"/>
                    <a:pt x="8259" y="19059"/>
                  </a:cubicBezTo>
                  <a:cubicBezTo>
                    <a:pt x="9529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706" y="21600"/>
                    <a:pt x="12706" y="21600"/>
                    <a:pt x="13341" y="19059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6518" y="19059"/>
                    <a:pt x="17153" y="19694"/>
                    <a:pt x="17788" y="19694"/>
                  </a:cubicBezTo>
                  <a:cubicBezTo>
                    <a:pt x="17788" y="19694"/>
                    <a:pt x="17788" y="19694"/>
                    <a:pt x="17788" y="19694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153"/>
                    <a:pt x="19694" y="17153"/>
                    <a:pt x="18424" y="14612"/>
                  </a:cubicBezTo>
                  <a:cubicBezTo>
                    <a:pt x="19059" y="13341"/>
                    <a:pt x="19059" y="13341"/>
                    <a:pt x="19059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9059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2706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2706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EF1B7FF8-764C-40AC-876B-D3494F2C5EED}"/>
                </a:ext>
              </a:extLst>
            </p:cNvPr>
            <p:cNvSpPr/>
            <p:nvPr/>
          </p:nvSpPr>
          <p:spPr>
            <a:xfrm>
              <a:off x="237337" y="1796769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59" y="8259"/>
                  </a:moveTo>
                  <a:cubicBezTo>
                    <a:pt x="18424" y="6988"/>
                    <a:pt x="18424" y="6988"/>
                    <a:pt x="18424" y="6988"/>
                  </a:cubicBezTo>
                  <a:cubicBezTo>
                    <a:pt x="19694" y="4447"/>
                    <a:pt x="19694" y="4447"/>
                    <a:pt x="19694" y="3812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153" y="2541"/>
                    <a:pt x="17153" y="2541"/>
                    <a:pt x="17153" y="2541"/>
                  </a:cubicBezTo>
                  <a:cubicBezTo>
                    <a:pt x="17153" y="2541"/>
                    <a:pt x="17153" y="2541"/>
                    <a:pt x="14612" y="3176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706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9529" y="0"/>
                    <a:pt x="8894" y="0"/>
                    <a:pt x="8259" y="3176"/>
                  </a:cubicBezTo>
                  <a:cubicBezTo>
                    <a:pt x="6988" y="3176"/>
                    <a:pt x="6988" y="3176"/>
                    <a:pt x="6988" y="3176"/>
                  </a:cubicBezTo>
                  <a:cubicBezTo>
                    <a:pt x="5718" y="2541"/>
                    <a:pt x="4447" y="2541"/>
                    <a:pt x="4447" y="2541"/>
                  </a:cubicBezTo>
                  <a:cubicBezTo>
                    <a:pt x="3812" y="2541"/>
                    <a:pt x="3812" y="2541"/>
                    <a:pt x="3812" y="2541"/>
                  </a:cubicBezTo>
                  <a:cubicBezTo>
                    <a:pt x="1906" y="3812"/>
                    <a:pt x="1906" y="3812"/>
                    <a:pt x="1906" y="3812"/>
                  </a:cubicBezTo>
                  <a:cubicBezTo>
                    <a:pt x="1906" y="4447"/>
                    <a:pt x="1906" y="4447"/>
                    <a:pt x="3176" y="6988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2541" y="13341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153"/>
                    <a:pt x="1906" y="17788"/>
                    <a:pt x="2541" y="17788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4447" y="19694"/>
                    <a:pt x="4447" y="19694"/>
                    <a:pt x="4447" y="19694"/>
                  </a:cubicBezTo>
                  <a:cubicBezTo>
                    <a:pt x="4447" y="19694"/>
                    <a:pt x="4447" y="19694"/>
                    <a:pt x="6988" y="18424"/>
                  </a:cubicBezTo>
                  <a:cubicBezTo>
                    <a:pt x="8259" y="19059"/>
                    <a:pt x="8259" y="19059"/>
                    <a:pt x="8259" y="19059"/>
                  </a:cubicBezTo>
                  <a:cubicBezTo>
                    <a:pt x="9529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706" y="21600"/>
                    <a:pt x="12706" y="21600"/>
                    <a:pt x="13341" y="19059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6518" y="19059"/>
                    <a:pt x="17153" y="19694"/>
                    <a:pt x="17788" y="19694"/>
                  </a:cubicBezTo>
                  <a:cubicBezTo>
                    <a:pt x="17788" y="19694"/>
                    <a:pt x="17788" y="19694"/>
                    <a:pt x="17788" y="19694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153"/>
                    <a:pt x="19694" y="17153"/>
                    <a:pt x="18424" y="14612"/>
                  </a:cubicBezTo>
                  <a:cubicBezTo>
                    <a:pt x="19059" y="13341"/>
                    <a:pt x="19059" y="13341"/>
                    <a:pt x="19059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9059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2706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2706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F8EE0382-7FC8-4D48-A395-3302A54FD110}"/>
                </a:ext>
              </a:extLst>
            </p:cNvPr>
            <p:cNvSpPr/>
            <p:nvPr/>
          </p:nvSpPr>
          <p:spPr>
            <a:xfrm>
              <a:off x="302859" y="1699214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24" y="8259"/>
                  </a:moveTo>
                  <a:cubicBezTo>
                    <a:pt x="18424" y="7624"/>
                    <a:pt x="18424" y="7624"/>
                    <a:pt x="18424" y="7624"/>
                  </a:cubicBezTo>
                  <a:cubicBezTo>
                    <a:pt x="19694" y="4447"/>
                    <a:pt x="19694" y="4447"/>
                    <a:pt x="19059" y="4447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788" y="2541"/>
                    <a:pt x="17788" y="2541"/>
                    <a:pt x="17788" y="2541"/>
                  </a:cubicBezTo>
                  <a:cubicBezTo>
                    <a:pt x="17153" y="2541"/>
                    <a:pt x="17153" y="2541"/>
                    <a:pt x="17153" y="2541"/>
                  </a:cubicBezTo>
                  <a:cubicBezTo>
                    <a:pt x="17153" y="2541"/>
                    <a:pt x="17153" y="2541"/>
                    <a:pt x="14612" y="3812"/>
                  </a:cubicBezTo>
                  <a:cubicBezTo>
                    <a:pt x="13341" y="3176"/>
                    <a:pt x="13341" y="3176"/>
                    <a:pt x="13341" y="3176"/>
                  </a:cubicBezTo>
                  <a:cubicBezTo>
                    <a:pt x="12071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8894" y="0"/>
                    <a:pt x="8894" y="0"/>
                    <a:pt x="7624" y="3176"/>
                  </a:cubicBezTo>
                  <a:cubicBezTo>
                    <a:pt x="6988" y="3812"/>
                    <a:pt x="6988" y="3812"/>
                    <a:pt x="6988" y="3812"/>
                  </a:cubicBezTo>
                  <a:cubicBezTo>
                    <a:pt x="5082" y="2541"/>
                    <a:pt x="4447" y="2541"/>
                    <a:pt x="3812" y="2541"/>
                  </a:cubicBezTo>
                  <a:cubicBezTo>
                    <a:pt x="3812" y="2541"/>
                    <a:pt x="3812" y="2541"/>
                    <a:pt x="3812" y="2541"/>
                  </a:cubicBezTo>
                  <a:cubicBezTo>
                    <a:pt x="1906" y="4447"/>
                    <a:pt x="1906" y="4447"/>
                    <a:pt x="1906" y="4447"/>
                  </a:cubicBezTo>
                  <a:cubicBezTo>
                    <a:pt x="1906" y="4447"/>
                    <a:pt x="1906" y="4447"/>
                    <a:pt x="3176" y="7624"/>
                  </a:cubicBezTo>
                  <a:cubicBezTo>
                    <a:pt x="2541" y="8259"/>
                    <a:pt x="2541" y="8259"/>
                    <a:pt x="2541" y="8259"/>
                  </a:cubicBezTo>
                  <a:cubicBezTo>
                    <a:pt x="0" y="9529"/>
                    <a:pt x="0" y="9529"/>
                    <a:pt x="0" y="10165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2541" y="13976"/>
                  </a:cubicBezTo>
                  <a:cubicBezTo>
                    <a:pt x="3176" y="14612"/>
                    <a:pt x="3176" y="14612"/>
                    <a:pt x="3176" y="14612"/>
                  </a:cubicBezTo>
                  <a:cubicBezTo>
                    <a:pt x="1906" y="17788"/>
                    <a:pt x="1906" y="17788"/>
                    <a:pt x="1906" y="17788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3812" y="19694"/>
                    <a:pt x="3812" y="19694"/>
                    <a:pt x="3812" y="19694"/>
                  </a:cubicBezTo>
                  <a:cubicBezTo>
                    <a:pt x="4447" y="19694"/>
                    <a:pt x="4447" y="19694"/>
                    <a:pt x="4447" y="19694"/>
                  </a:cubicBezTo>
                  <a:cubicBezTo>
                    <a:pt x="4447" y="19694"/>
                    <a:pt x="4447" y="19694"/>
                    <a:pt x="6988" y="18424"/>
                  </a:cubicBezTo>
                  <a:cubicBezTo>
                    <a:pt x="8259" y="19059"/>
                    <a:pt x="8259" y="19059"/>
                    <a:pt x="8259" y="19059"/>
                  </a:cubicBezTo>
                  <a:cubicBezTo>
                    <a:pt x="8894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071" y="21600"/>
                    <a:pt x="12706" y="21600"/>
                    <a:pt x="13341" y="19059"/>
                  </a:cubicBezTo>
                  <a:cubicBezTo>
                    <a:pt x="14612" y="18424"/>
                    <a:pt x="14612" y="18424"/>
                    <a:pt x="14612" y="18424"/>
                  </a:cubicBezTo>
                  <a:cubicBezTo>
                    <a:pt x="15882" y="19059"/>
                    <a:pt x="17153" y="19694"/>
                    <a:pt x="17153" y="19694"/>
                  </a:cubicBezTo>
                  <a:cubicBezTo>
                    <a:pt x="17788" y="19694"/>
                    <a:pt x="17788" y="19694"/>
                    <a:pt x="17788" y="19694"/>
                  </a:cubicBezTo>
                  <a:cubicBezTo>
                    <a:pt x="19694" y="17788"/>
                    <a:pt x="19694" y="17788"/>
                    <a:pt x="19694" y="17788"/>
                  </a:cubicBezTo>
                  <a:cubicBezTo>
                    <a:pt x="19694" y="17788"/>
                    <a:pt x="19694" y="17788"/>
                    <a:pt x="18424" y="14612"/>
                  </a:cubicBezTo>
                  <a:cubicBezTo>
                    <a:pt x="19059" y="13976"/>
                    <a:pt x="19059" y="13976"/>
                    <a:pt x="19059" y="13976"/>
                  </a:cubicBezTo>
                  <a:cubicBezTo>
                    <a:pt x="21600" y="12706"/>
                    <a:pt x="21600" y="12706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424" y="8259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3341"/>
                    <a:pt x="6988" y="10800"/>
                  </a:cubicBezTo>
                  <a:cubicBezTo>
                    <a:pt x="6988" y="8894"/>
                    <a:pt x="8894" y="6988"/>
                    <a:pt x="10800" y="6988"/>
                  </a:cubicBezTo>
                  <a:cubicBezTo>
                    <a:pt x="12706" y="6988"/>
                    <a:pt x="14612" y="8894"/>
                    <a:pt x="14612" y="10800"/>
                  </a:cubicBezTo>
                  <a:cubicBezTo>
                    <a:pt x="14612" y="13341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26316387-D9B9-473D-80A6-B5B8C4A35F2B}"/>
                </a:ext>
              </a:extLst>
            </p:cNvPr>
            <p:cNvSpPr/>
            <p:nvPr/>
          </p:nvSpPr>
          <p:spPr>
            <a:xfrm>
              <a:off x="-1" y="1035254"/>
              <a:ext cx="94645" cy="917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7624"/>
                  </a:moveTo>
                  <a:cubicBezTo>
                    <a:pt x="18514" y="6988"/>
                    <a:pt x="18514" y="6988"/>
                    <a:pt x="18514" y="6988"/>
                  </a:cubicBezTo>
                  <a:cubicBezTo>
                    <a:pt x="19749" y="3812"/>
                    <a:pt x="19749" y="3812"/>
                    <a:pt x="19131" y="3812"/>
                  </a:cubicBezTo>
                  <a:cubicBezTo>
                    <a:pt x="17897" y="1906"/>
                    <a:pt x="17897" y="1906"/>
                    <a:pt x="17897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6663" y="1906"/>
                    <a:pt x="14811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874" y="0"/>
                    <a:pt x="9874" y="0"/>
                    <a:pt x="9874" y="0"/>
                  </a:cubicBezTo>
                  <a:cubicBezTo>
                    <a:pt x="9257" y="0"/>
                    <a:pt x="9257" y="0"/>
                    <a:pt x="8023" y="2541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937" y="1906"/>
                    <a:pt x="4320" y="1906"/>
                  </a:cubicBezTo>
                  <a:cubicBezTo>
                    <a:pt x="4320" y="1906"/>
                    <a:pt x="4320" y="1906"/>
                    <a:pt x="4320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2469" y="3812"/>
                    <a:pt x="2469" y="3812"/>
                    <a:pt x="3703" y="6988"/>
                  </a:cubicBezTo>
                  <a:cubicBezTo>
                    <a:pt x="3086" y="7624"/>
                    <a:pt x="3086" y="7624"/>
                    <a:pt x="3086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1435"/>
                    <a:pt x="0" y="11435"/>
                    <a:pt x="0" y="11435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703" y="13976"/>
                    <a:pt x="3703" y="13976"/>
                    <a:pt x="3703" y="13976"/>
                  </a:cubicBezTo>
                  <a:cubicBezTo>
                    <a:pt x="2469" y="17153"/>
                    <a:pt x="2469" y="17153"/>
                    <a:pt x="2469" y="17153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937" y="19059"/>
                    <a:pt x="4937" y="19059"/>
                    <a:pt x="7406" y="17788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2343" y="21600"/>
                    <a:pt x="12343" y="21600"/>
                    <a:pt x="12343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811" y="17788"/>
                    <a:pt x="14811" y="17788"/>
                    <a:pt x="14811" y="17788"/>
                  </a:cubicBezTo>
                  <a:cubicBezTo>
                    <a:pt x="16046" y="18424"/>
                    <a:pt x="17280" y="19059"/>
                    <a:pt x="17280" y="19059"/>
                  </a:cubicBezTo>
                  <a:cubicBezTo>
                    <a:pt x="17897" y="19059"/>
                    <a:pt x="17897" y="19059"/>
                    <a:pt x="17897" y="19059"/>
                  </a:cubicBezTo>
                  <a:cubicBezTo>
                    <a:pt x="19131" y="17153"/>
                    <a:pt x="19131" y="17153"/>
                    <a:pt x="19131" y="17153"/>
                  </a:cubicBezTo>
                  <a:cubicBezTo>
                    <a:pt x="19749" y="17153"/>
                    <a:pt x="19749" y="17153"/>
                    <a:pt x="18514" y="13976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7624"/>
                  </a:cubicBezTo>
                  <a:close/>
                  <a:moveTo>
                    <a:pt x="11109" y="13976"/>
                  </a:moveTo>
                  <a:cubicBezTo>
                    <a:pt x="8640" y="13976"/>
                    <a:pt x="7406" y="12706"/>
                    <a:pt x="7406" y="10800"/>
                  </a:cubicBezTo>
                  <a:cubicBezTo>
                    <a:pt x="7406" y="8259"/>
                    <a:pt x="8640" y="6988"/>
                    <a:pt x="11109" y="6988"/>
                  </a:cubicBezTo>
                  <a:cubicBezTo>
                    <a:pt x="12960" y="6988"/>
                    <a:pt x="14811" y="8259"/>
                    <a:pt x="14811" y="10800"/>
                  </a:cubicBezTo>
                  <a:cubicBezTo>
                    <a:pt x="14811" y="12706"/>
                    <a:pt x="12960" y="13976"/>
                    <a:pt x="11109" y="13976"/>
                  </a:cubicBezTo>
                  <a:close/>
                  <a:moveTo>
                    <a:pt x="11109" y="13976"/>
                  </a:moveTo>
                  <a:cubicBezTo>
                    <a:pt x="11109" y="13976"/>
                    <a:pt x="11109" y="13976"/>
                    <a:pt x="11109" y="13976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B9A48FFE-F723-4307-BCDD-C5A5750262B2}"/>
                </a:ext>
              </a:extLst>
            </p:cNvPr>
            <p:cNvSpPr/>
            <p:nvPr/>
          </p:nvSpPr>
          <p:spPr>
            <a:xfrm>
              <a:off x="34945" y="902752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6663" y="2541"/>
                    <a:pt x="16663" y="2541"/>
                    <a:pt x="14194" y="3176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3703" y="2541"/>
                    <a:pt x="3703" y="2541"/>
                    <a:pt x="3703" y="2541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7624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3086" y="13976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1851" y="17788"/>
                    <a:pt x="2469" y="17788"/>
                  </a:cubicBezTo>
                  <a:cubicBezTo>
                    <a:pt x="3703" y="19694"/>
                    <a:pt x="3703" y="19694"/>
                    <a:pt x="3703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6789" y="18424"/>
                  </a:cubicBezTo>
                  <a:cubicBezTo>
                    <a:pt x="8023" y="19059"/>
                    <a:pt x="8023" y="19059"/>
                    <a:pt x="8023" y="19059"/>
                  </a:cubicBezTo>
                  <a:cubicBezTo>
                    <a:pt x="9257" y="21600"/>
                    <a:pt x="9257" y="21600"/>
                    <a:pt x="9257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9059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694"/>
                    <a:pt x="17280" y="19694"/>
                  </a:cubicBezTo>
                  <a:cubicBezTo>
                    <a:pt x="17280" y="19694"/>
                    <a:pt x="17280" y="19694"/>
                    <a:pt x="17280" y="19694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131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FA27AE5A-7594-4A4A-920A-59F6A6D3B349}"/>
                </a:ext>
              </a:extLst>
            </p:cNvPr>
            <p:cNvSpPr/>
            <p:nvPr/>
          </p:nvSpPr>
          <p:spPr>
            <a:xfrm>
              <a:off x="151429" y="557668"/>
              <a:ext cx="91733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24" y="7624"/>
                  </a:moveTo>
                  <a:cubicBezTo>
                    <a:pt x="18424" y="6988"/>
                    <a:pt x="18424" y="6988"/>
                    <a:pt x="18424" y="6988"/>
                  </a:cubicBezTo>
                  <a:cubicBezTo>
                    <a:pt x="19694" y="3812"/>
                    <a:pt x="19694" y="3812"/>
                    <a:pt x="19059" y="3812"/>
                  </a:cubicBezTo>
                  <a:cubicBezTo>
                    <a:pt x="17788" y="1906"/>
                    <a:pt x="17788" y="1906"/>
                    <a:pt x="17788" y="1906"/>
                  </a:cubicBezTo>
                  <a:cubicBezTo>
                    <a:pt x="17788" y="1906"/>
                    <a:pt x="17788" y="1906"/>
                    <a:pt x="17788" y="1906"/>
                  </a:cubicBezTo>
                  <a:cubicBezTo>
                    <a:pt x="17153" y="1906"/>
                    <a:pt x="17153" y="1906"/>
                    <a:pt x="17153" y="1906"/>
                  </a:cubicBezTo>
                  <a:cubicBezTo>
                    <a:pt x="17153" y="1906"/>
                    <a:pt x="17153" y="1906"/>
                    <a:pt x="14612" y="3176"/>
                  </a:cubicBezTo>
                  <a:cubicBezTo>
                    <a:pt x="13341" y="2541"/>
                    <a:pt x="13341" y="2541"/>
                    <a:pt x="13341" y="2541"/>
                  </a:cubicBezTo>
                  <a:cubicBezTo>
                    <a:pt x="12071" y="0"/>
                    <a:pt x="12071" y="0"/>
                    <a:pt x="12071" y="0"/>
                  </a:cubicBezTo>
                  <a:cubicBezTo>
                    <a:pt x="9529" y="0"/>
                    <a:pt x="9529" y="0"/>
                    <a:pt x="9529" y="0"/>
                  </a:cubicBezTo>
                  <a:cubicBezTo>
                    <a:pt x="8894" y="0"/>
                    <a:pt x="8894" y="0"/>
                    <a:pt x="8259" y="2541"/>
                  </a:cubicBezTo>
                  <a:cubicBezTo>
                    <a:pt x="6988" y="3176"/>
                    <a:pt x="6988" y="3176"/>
                    <a:pt x="6988" y="3176"/>
                  </a:cubicBezTo>
                  <a:cubicBezTo>
                    <a:pt x="5082" y="2541"/>
                    <a:pt x="4447" y="1906"/>
                    <a:pt x="3812" y="1906"/>
                  </a:cubicBezTo>
                  <a:cubicBezTo>
                    <a:pt x="3812" y="1906"/>
                    <a:pt x="3812" y="1906"/>
                    <a:pt x="3812" y="1906"/>
                  </a:cubicBezTo>
                  <a:cubicBezTo>
                    <a:pt x="1906" y="3812"/>
                    <a:pt x="1906" y="3812"/>
                    <a:pt x="1906" y="3812"/>
                  </a:cubicBezTo>
                  <a:cubicBezTo>
                    <a:pt x="1906" y="3812"/>
                    <a:pt x="1906" y="3812"/>
                    <a:pt x="3176" y="6988"/>
                  </a:cubicBezTo>
                  <a:cubicBezTo>
                    <a:pt x="2541" y="7624"/>
                    <a:pt x="2541" y="7624"/>
                    <a:pt x="2541" y="7624"/>
                  </a:cubicBezTo>
                  <a:cubicBezTo>
                    <a:pt x="0" y="8894"/>
                    <a:pt x="0" y="8894"/>
                    <a:pt x="0" y="9529"/>
                  </a:cubicBezTo>
                  <a:cubicBezTo>
                    <a:pt x="0" y="11435"/>
                    <a:pt x="0" y="11435"/>
                    <a:pt x="0" y="11435"/>
                  </a:cubicBezTo>
                  <a:cubicBezTo>
                    <a:pt x="0" y="12071"/>
                    <a:pt x="0" y="12071"/>
                    <a:pt x="2541" y="13341"/>
                  </a:cubicBezTo>
                  <a:cubicBezTo>
                    <a:pt x="3176" y="13976"/>
                    <a:pt x="3176" y="13976"/>
                    <a:pt x="3176" y="13976"/>
                  </a:cubicBezTo>
                  <a:cubicBezTo>
                    <a:pt x="1906" y="17153"/>
                    <a:pt x="1906" y="17153"/>
                    <a:pt x="1906" y="17153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3812" y="19059"/>
                    <a:pt x="3812" y="19059"/>
                    <a:pt x="3812" y="19059"/>
                  </a:cubicBezTo>
                  <a:cubicBezTo>
                    <a:pt x="4447" y="19059"/>
                    <a:pt x="4447" y="19059"/>
                    <a:pt x="4447" y="19059"/>
                  </a:cubicBezTo>
                  <a:cubicBezTo>
                    <a:pt x="4447" y="19059"/>
                    <a:pt x="4447" y="19059"/>
                    <a:pt x="6988" y="17788"/>
                  </a:cubicBezTo>
                  <a:cubicBezTo>
                    <a:pt x="8259" y="18424"/>
                    <a:pt x="8259" y="18424"/>
                    <a:pt x="8259" y="18424"/>
                  </a:cubicBezTo>
                  <a:cubicBezTo>
                    <a:pt x="8894" y="21600"/>
                    <a:pt x="9529" y="21600"/>
                    <a:pt x="9529" y="21600"/>
                  </a:cubicBezTo>
                  <a:cubicBezTo>
                    <a:pt x="12071" y="21600"/>
                    <a:pt x="12071" y="21600"/>
                    <a:pt x="12071" y="21600"/>
                  </a:cubicBezTo>
                  <a:cubicBezTo>
                    <a:pt x="12071" y="21600"/>
                    <a:pt x="12706" y="21600"/>
                    <a:pt x="13341" y="18424"/>
                  </a:cubicBezTo>
                  <a:cubicBezTo>
                    <a:pt x="14612" y="17788"/>
                    <a:pt x="14612" y="17788"/>
                    <a:pt x="14612" y="17788"/>
                  </a:cubicBezTo>
                  <a:cubicBezTo>
                    <a:pt x="15882" y="18424"/>
                    <a:pt x="17153" y="19059"/>
                    <a:pt x="17153" y="19059"/>
                  </a:cubicBezTo>
                  <a:cubicBezTo>
                    <a:pt x="17788" y="19059"/>
                    <a:pt x="17788" y="19059"/>
                    <a:pt x="17788" y="19059"/>
                  </a:cubicBezTo>
                  <a:cubicBezTo>
                    <a:pt x="19694" y="17153"/>
                    <a:pt x="19694" y="17153"/>
                    <a:pt x="19694" y="17153"/>
                  </a:cubicBezTo>
                  <a:cubicBezTo>
                    <a:pt x="19694" y="17153"/>
                    <a:pt x="19694" y="17153"/>
                    <a:pt x="18424" y="13976"/>
                  </a:cubicBezTo>
                  <a:cubicBezTo>
                    <a:pt x="19059" y="13341"/>
                    <a:pt x="19059" y="13341"/>
                    <a:pt x="19059" y="13341"/>
                  </a:cubicBezTo>
                  <a:cubicBezTo>
                    <a:pt x="21600" y="12071"/>
                    <a:pt x="21600" y="12071"/>
                    <a:pt x="21600" y="11435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424" y="7624"/>
                  </a:cubicBezTo>
                  <a:close/>
                  <a:moveTo>
                    <a:pt x="10800" y="14612"/>
                  </a:moveTo>
                  <a:cubicBezTo>
                    <a:pt x="8894" y="14612"/>
                    <a:pt x="6988" y="12706"/>
                    <a:pt x="6988" y="10800"/>
                  </a:cubicBezTo>
                  <a:cubicBezTo>
                    <a:pt x="6988" y="8259"/>
                    <a:pt x="8894" y="6988"/>
                    <a:pt x="10800" y="6988"/>
                  </a:cubicBezTo>
                  <a:cubicBezTo>
                    <a:pt x="12706" y="6988"/>
                    <a:pt x="14612" y="8259"/>
                    <a:pt x="14612" y="10800"/>
                  </a:cubicBezTo>
                  <a:cubicBezTo>
                    <a:pt x="14612" y="12706"/>
                    <a:pt x="12706" y="14612"/>
                    <a:pt x="10800" y="14612"/>
                  </a:cubicBezTo>
                  <a:close/>
                  <a:moveTo>
                    <a:pt x="10800" y="14612"/>
                  </a:moveTo>
                  <a:cubicBezTo>
                    <a:pt x="10800" y="14612"/>
                    <a:pt x="10800" y="14612"/>
                    <a:pt x="10800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CBAB8F3D-743C-47EC-B3F9-4653A175E949}"/>
                </a:ext>
              </a:extLst>
            </p:cNvPr>
            <p:cNvSpPr/>
            <p:nvPr/>
          </p:nvSpPr>
          <p:spPr>
            <a:xfrm>
              <a:off x="483409" y="199479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4447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2541"/>
                    <a:pt x="16663" y="2541"/>
                    <a:pt x="14194" y="3176"/>
                  </a:cubicBezTo>
                  <a:cubicBezTo>
                    <a:pt x="13577" y="3176"/>
                    <a:pt x="13577" y="3176"/>
                    <a:pt x="13577" y="3176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7406" y="3176"/>
                    <a:pt x="7406" y="3176"/>
                    <a:pt x="7406" y="3176"/>
                  </a:cubicBezTo>
                  <a:cubicBezTo>
                    <a:pt x="5554" y="2541"/>
                    <a:pt x="4320" y="2541"/>
                    <a:pt x="4320" y="2541"/>
                  </a:cubicBezTo>
                  <a:cubicBezTo>
                    <a:pt x="4320" y="2541"/>
                    <a:pt x="4320" y="2541"/>
                    <a:pt x="4320" y="2541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6988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9529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706"/>
                    <a:pt x="0" y="12706"/>
                    <a:pt x="3086" y="13341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2469" y="17788"/>
                    <a:pt x="2469" y="17788"/>
                  </a:cubicBezTo>
                  <a:cubicBezTo>
                    <a:pt x="3703" y="19694"/>
                    <a:pt x="3703" y="19694"/>
                    <a:pt x="3703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320" y="19694"/>
                    <a:pt x="4320" y="19694"/>
                  </a:cubicBezTo>
                  <a:cubicBezTo>
                    <a:pt x="4320" y="19694"/>
                    <a:pt x="4937" y="19694"/>
                    <a:pt x="7406" y="18424"/>
                  </a:cubicBezTo>
                  <a:cubicBezTo>
                    <a:pt x="8023" y="19059"/>
                    <a:pt x="8023" y="19059"/>
                    <a:pt x="8023" y="19059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9059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694"/>
                    <a:pt x="17280" y="19694"/>
                  </a:cubicBezTo>
                  <a:cubicBezTo>
                    <a:pt x="17280" y="19694"/>
                    <a:pt x="17280" y="19694"/>
                    <a:pt x="17280" y="19694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749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706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9529"/>
                    <a:pt x="21600" y="9529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8138313B-C6C1-4DD4-930C-1A726CECF635}"/>
                </a:ext>
              </a:extLst>
            </p:cNvPr>
            <p:cNvSpPr/>
            <p:nvPr/>
          </p:nvSpPr>
          <p:spPr>
            <a:xfrm>
              <a:off x="1025061" y="-1"/>
              <a:ext cx="94645" cy="91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14" y="8259"/>
                  </a:moveTo>
                  <a:cubicBezTo>
                    <a:pt x="17897" y="6988"/>
                    <a:pt x="17897" y="6988"/>
                    <a:pt x="17897" y="6988"/>
                  </a:cubicBezTo>
                  <a:cubicBezTo>
                    <a:pt x="19131" y="4447"/>
                    <a:pt x="19131" y="3812"/>
                    <a:pt x="19131" y="3812"/>
                  </a:cubicBezTo>
                  <a:cubicBezTo>
                    <a:pt x="17280" y="2541"/>
                    <a:pt x="17280" y="2541"/>
                    <a:pt x="17280" y="2541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7280" y="1906"/>
                    <a:pt x="17280" y="1906"/>
                    <a:pt x="17280" y="1906"/>
                  </a:cubicBezTo>
                  <a:cubicBezTo>
                    <a:pt x="16663" y="1906"/>
                    <a:pt x="16663" y="1906"/>
                    <a:pt x="14194" y="3176"/>
                  </a:cubicBezTo>
                  <a:cubicBezTo>
                    <a:pt x="13577" y="2541"/>
                    <a:pt x="13577" y="2541"/>
                    <a:pt x="13577" y="2541"/>
                  </a:cubicBezTo>
                  <a:cubicBezTo>
                    <a:pt x="12343" y="0"/>
                    <a:pt x="12343" y="0"/>
                    <a:pt x="11726" y="0"/>
                  </a:cubicBezTo>
                  <a:cubicBezTo>
                    <a:pt x="9257" y="0"/>
                    <a:pt x="9257" y="0"/>
                    <a:pt x="9257" y="0"/>
                  </a:cubicBezTo>
                  <a:cubicBezTo>
                    <a:pt x="9257" y="0"/>
                    <a:pt x="9257" y="0"/>
                    <a:pt x="8023" y="3176"/>
                  </a:cubicBezTo>
                  <a:cubicBezTo>
                    <a:pt x="6789" y="3176"/>
                    <a:pt x="6789" y="3176"/>
                    <a:pt x="6789" y="3176"/>
                  </a:cubicBezTo>
                  <a:cubicBezTo>
                    <a:pt x="5554" y="2541"/>
                    <a:pt x="4320" y="1906"/>
                    <a:pt x="4320" y="1906"/>
                  </a:cubicBezTo>
                  <a:cubicBezTo>
                    <a:pt x="3703" y="1906"/>
                    <a:pt x="3703" y="1906"/>
                    <a:pt x="3703" y="1906"/>
                  </a:cubicBezTo>
                  <a:cubicBezTo>
                    <a:pt x="2469" y="3812"/>
                    <a:pt x="2469" y="3812"/>
                    <a:pt x="2469" y="3812"/>
                  </a:cubicBezTo>
                  <a:cubicBezTo>
                    <a:pt x="1851" y="4447"/>
                    <a:pt x="1851" y="4447"/>
                    <a:pt x="3086" y="6988"/>
                  </a:cubicBezTo>
                  <a:cubicBezTo>
                    <a:pt x="3086" y="8259"/>
                    <a:pt x="3086" y="8259"/>
                    <a:pt x="3086" y="8259"/>
                  </a:cubicBezTo>
                  <a:cubicBezTo>
                    <a:pt x="0" y="8894"/>
                    <a:pt x="0" y="9529"/>
                    <a:pt x="0" y="9529"/>
                  </a:cubicBezTo>
                  <a:cubicBezTo>
                    <a:pt x="0" y="12071"/>
                    <a:pt x="0" y="12071"/>
                    <a:pt x="0" y="12071"/>
                  </a:cubicBezTo>
                  <a:cubicBezTo>
                    <a:pt x="0" y="12071"/>
                    <a:pt x="0" y="12071"/>
                    <a:pt x="3086" y="13341"/>
                  </a:cubicBezTo>
                  <a:cubicBezTo>
                    <a:pt x="3086" y="14612"/>
                    <a:pt x="3086" y="14612"/>
                    <a:pt x="3086" y="14612"/>
                  </a:cubicBezTo>
                  <a:cubicBezTo>
                    <a:pt x="1851" y="17153"/>
                    <a:pt x="1851" y="17153"/>
                    <a:pt x="2469" y="17788"/>
                  </a:cubicBezTo>
                  <a:cubicBezTo>
                    <a:pt x="3703" y="19059"/>
                    <a:pt x="3703" y="19059"/>
                    <a:pt x="3703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320" y="19059"/>
                    <a:pt x="4320" y="19059"/>
                  </a:cubicBezTo>
                  <a:cubicBezTo>
                    <a:pt x="4320" y="19059"/>
                    <a:pt x="4937" y="19059"/>
                    <a:pt x="6789" y="18424"/>
                  </a:cubicBezTo>
                  <a:cubicBezTo>
                    <a:pt x="8023" y="18424"/>
                    <a:pt x="8023" y="18424"/>
                    <a:pt x="8023" y="18424"/>
                  </a:cubicBezTo>
                  <a:cubicBezTo>
                    <a:pt x="9257" y="21600"/>
                    <a:pt x="9257" y="21600"/>
                    <a:pt x="9874" y="21600"/>
                  </a:cubicBezTo>
                  <a:cubicBezTo>
                    <a:pt x="11726" y="21600"/>
                    <a:pt x="11726" y="21600"/>
                    <a:pt x="11726" y="21600"/>
                  </a:cubicBezTo>
                  <a:cubicBezTo>
                    <a:pt x="12343" y="21600"/>
                    <a:pt x="12343" y="21600"/>
                    <a:pt x="13577" y="18424"/>
                  </a:cubicBezTo>
                  <a:cubicBezTo>
                    <a:pt x="14194" y="18424"/>
                    <a:pt x="14194" y="18424"/>
                    <a:pt x="14194" y="18424"/>
                  </a:cubicBezTo>
                  <a:cubicBezTo>
                    <a:pt x="16046" y="19059"/>
                    <a:pt x="16663" y="19059"/>
                    <a:pt x="17280" y="19059"/>
                  </a:cubicBezTo>
                  <a:cubicBezTo>
                    <a:pt x="17280" y="19059"/>
                    <a:pt x="17280" y="19059"/>
                    <a:pt x="17280" y="19059"/>
                  </a:cubicBezTo>
                  <a:cubicBezTo>
                    <a:pt x="19131" y="17788"/>
                    <a:pt x="19131" y="17788"/>
                    <a:pt x="19131" y="17788"/>
                  </a:cubicBezTo>
                  <a:cubicBezTo>
                    <a:pt x="19131" y="17153"/>
                    <a:pt x="19131" y="17153"/>
                    <a:pt x="17897" y="14612"/>
                  </a:cubicBezTo>
                  <a:cubicBezTo>
                    <a:pt x="18514" y="13341"/>
                    <a:pt x="18514" y="13341"/>
                    <a:pt x="18514" y="13341"/>
                  </a:cubicBezTo>
                  <a:cubicBezTo>
                    <a:pt x="21600" y="12071"/>
                    <a:pt x="21600" y="12071"/>
                    <a:pt x="21600" y="12071"/>
                  </a:cubicBezTo>
                  <a:cubicBezTo>
                    <a:pt x="21600" y="9529"/>
                    <a:pt x="21600" y="9529"/>
                    <a:pt x="21600" y="9529"/>
                  </a:cubicBezTo>
                  <a:cubicBezTo>
                    <a:pt x="21600" y="8894"/>
                    <a:pt x="21600" y="8894"/>
                    <a:pt x="18514" y="8259"/>
                  </a:cubicBezTo>
                  <a:close/>
                  <a:moveTo>
                    <a:pt x="10491" y="14612"/>
                  </a:moveTo>
                  <a:cubicBezTo>
                    <a:pt x="8640" y="14612"/>
                    <a:pt x="6789" y="12706"/>
                    <a:pt x="6789" y="10800"/>
                  </a:cubicBezTo>
                  <a:cubicBezTo>
                    <a:pt x="6789" y="8894"/>
                    <a:pt x="8640" y="6988"/>
                    <a:pt x="10491" y="6988"/>
                  </a:cubicBezTo>
                  <a:cubicBezTo>
                    <a:pt x="12960" y="6988"/>
                    <a:pt x="14194" y="8894"/>
                    <a:pt x="14194" y="10800"/>
                  </a:cubicBezTo>
                  <a:cubicBezTo>
                    <a:pt x="14194" y="12706"/>
                    <a:pt x="12960" y="14612"/>
                    <a:pt x="10491" y="14612"/>
                  </a:cubicBezTo>
                  <a:close/>
                  <a:moveTo>
                    <a:pt x="10491" y="14612"/>
                  </a:moveTo>
                  <a:cubicBezTo>
                    <a:pt x="10491" y="14612"/>
                    <a:pt x="10491" y="14612"/>
                    <a:pt x="10491" y="14612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89B0A45E-F4FF-44DC-BD84-A8AF35B60AE8}"/>
                </a:ext>
              </a:extLst>
            </p:cNvPr>
            <p:cNvSpPr/>
            <p:nvPr/>
          </p:nvSpPr>
          <p:spPr>
            <a:xfrm>
              <a:off x="960995" y="2791254"/>
              <a:ext cx="129590" cy="1266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50" y="8272"/>
                  </a:moveTo>
                  <a:cubicBezTo>
                    <a:pt x="18000" y="7353"/>
                    <a:pt x="18000" y="7353"/>
                    <a:pt x="18000" y="7353"/>
                  </a:cubicBezTo>
                  <a:cubicBezTo>
                    <a:pt x="19350" y="4596"/>
                    <a:pt x="19350" y="4136"/>
                    <a:pt x="19350" y="4136"/>
                  </a:cubicBezTo>
                  <a:cubicBezTo>
                    <a:pt x="17550" y="2298"/>
                    <a:pt x="17550" y="2298"/>
                    <a:pt x="17550" y="2298"/>
                  </a:cubicBezTo>
                  <a:cubicBezTo>
                    <a:pt x="17550" y="2298"/>
                    <a:pt x="17550" y="2298"/>
                    <a:pt x="17550" y="2298"/>
                  </a:cubicBezTo>
                  <a:cubicBezTo>
                    <a:pt x="17100" y="2298"/>
                    <a:pt x="17100" y="2298"/>
                    <a:pt x="17100" y="2298"/>
                  </a:cubicBezTo>
                  <a:cubicBezTo>
                    <a:pt x="17100" y="2298"/>
                    <a:pt x="16650" y="2298"/>
                    <a:pt x="14400" y="3677"/>
                  </a:cubicBezTo>
                  <a:cubicBezTo>
                    <a:pt x="13500" y="3217"/>
                    <a:pt x="13500" y="3217"/>
                    <a:pt x="13500" y="3217"/>
                  </a:cubicBezTo>
                  <a:cubicBezTo>
                    <a:pt x="12150" y="0"/>
                    <a:pt x="12150" y="0"/>
                    <a:pt x="11700" y="0"/>
                  </a:cubicBezTo>
                  <a:cubicBezTo>
                    <a:pt x="9450" y="0"/>
                    <a:pt x="9450" y="0"/>
                    <a:pt x="9450" y="0"/>
                  </a:cubicBezTo>
                  <a:cubicBezTo>
                    <a:pt x="9450" y="0"/>
                    <a:pt x="9000" y="0"/>
                    <a:pt x="8100" y="3217"/>
                  </a:cubicBezTo>
                  <a:cubicBezTo>
                    <a:pt x="7200" y="3677"/>
                    <a:pt x="7200" y="3677"/>
                    <a:pt x="7200" y="3677"/>
                  </a:cubicBezTo>
                  <a:cubicBezTo>
                    <a:pt x="5400" y="2757"/>
                    <a:pt x="4500" y="2298"/>
                    <a:pt x="4500" y="2298"/>
                  </a:cubicBezTo>
                  <a:cubicBezTo>
                    <a:pt x="4050" y="2298"/>
                    <a:pt x="4050" y="2298"/>
                    <a:pt x="4050" y="2298"/>
                  </a:cubicBezTo>
                  <a:cubicBezTo>
                    <a:pt x="2250" y="4136"/>
                    <a:pt x="2250" y="4136"/>
                    <a:pt x="2250" y="4136"/>
                  </a:cubicBezTo>
                  <a:cubicBezTo>
                    <a:pt x="2250" y="4596"/>
                    <a:pt x="1800" y="4596"/>
                    <a:pt x="3150" y="7353"/>
                  </a:cubicBezTo>
                  <a:cubicBezTo>
                    <a:pt x="3150" y="8272"/>
                    <a:pt x="3150" y="8272"/>
                    <a:pt x="3150" y="8272"/>
                  </a:cubicBezTo>
                  <a:cubicBezTo>
                    <a:pt x="0" y="9191"/>
                    <a:pt x="0" y="9651"/>
                    <a:pt x="0" y="9651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2409"/>
                    <a:pt x="0" y="12409"/>
                    <a:pt x="3150" y="13787"/>
                  </a:cubicBezTo>
                  <a:cubicBezTo>
                    <a:pt x="3150" y="14706"/>
                    <a:pt x="3150" y="14706"/>
                    <a:pt x="3150" y="14706"/>
                  </a:cubicBezTo>
                  <a:cubicBezTo>
                    <a:pt x="2250" y="17464"/>
                    <a:pt x="2250" y="17464"/>
                    <a:pt x="2250" y="17923"/>
                  </a:cubicBezTo>
                  <a:cubicBezTo>
                    <a:pt x="4050" y="19302"/>
                    <a:pt x="4050" y="19302"/>
                    <a:pt x="4050" y="19302"/>
                  </a:cubicBezTo>
                  <a:cubicBezTo>
                    <a:pt x="4050" y="19302"/>
                    <a:pt x="4050" y="19302"/>
                    <a:pt x="4050" y="19302"/>
                  </a:cubicBezTo>
                  <a:cubicBezTo>
                    <a:pt x="4500" y="19302"/>
                    <a:pt x="4500" y="19302"/>
                    <a:pt x="4500" y="19302"/>
                  </a:cubicBezTo>
                  <a:cubicBezTo>
                    <a:pt x="4500" y="19302"/>
                    <a:pt x="4950" y="19302"/>
                    <a:pt x="7200" y="18383"/>
                  </a:cubicBezTo>
                  <a:cubicBezTo>
                    <a:pt x="8100" y="18843"/>
                    <a:pt x="8100" y="18843"/>
                    <a:pt x="8100" y="18843"/>
                  </a:cubicBezTo>
                  <a:cubicBezTo>
                    <a:pt x="9000" y="21600"/>
                    <a:pt x="9450" y="21600"/>
                    <a:pt x="9900" y="21600"/>
                  </a:cubicBezTo>
                  <a:cubicBezTo>
                    <a:pt x="12150" y="21600"/>
                    <a:pt x="12150" y="21600"/>
                    <a:pt x="12150" y="21600"/>
                  </a:cubicBezTo>
                  <a:cubicBezTo>
                    <a:pt x="12150" y="21600"/>
                    <a:pt x="12600" y="21600"/>
                    <a:pt x="13500" y="18843"/>
                  </a:cubicBezTo>
                  <a:cubicBezTo>
                    <a:pt x="14400" y="18383"/>
                    <a:pt x="14400" y="18383"/>
                    <a:pt x="14400" y="18383"/>
                  </a:cubicBezTo>
                  <a:cubicBezTo>
                    <a:pt x="16200" y="19302"/>
                    <a:pt x="17100" y="19302"/>
                    <a:pt x="17100" y="19302"/>
                  </a:cubicBezTo>
                  <a:cubicBezTo>
                    <a:pt x="17550" y="19302"/>
                    <a:pt x="17550" y="19302"/>
                    <a:pt x="17550" y="19302"/>
                  </a:cubicBezTo>
                  <a:cubicBezTo>
                    <a:pt x="19350" y="17923"/>
                    <a:pt x="19350" y="17923"/>
                    <a:pt x="19350" y="17923"/>
                  </a:cubicBezTo>
                  <a:cubicBezTo>
                    <a:pt x="19350" y="17464"/>
                    <a:pt x="19350" y="17464"/>
                    <a:pt x="18000" y="14706"/>
                  </a:cubicBezTo>
                  <a:cubicBezTo>
                    <a:pt x="18450" y="13787"/>
                    <a:pt x="18450" y="13787"/>
                    <a:pt x="18450" y="13787"/>
                  </a:cubicBezTo>
                  <a:cubicBezTo>
                    <a:pt x="21600" y="12409"/>
                    <a:pt x="21600" y="12409"/>
                    <a:pt x="21600" y="11949"/>
                  </a:cubicBezTo>
                  <a:cubicBezTo>
                    <a:pt x="21600" y="9651"/>
                    <a:pt x="21600" y="9651"/>
                    <a:pt x="21600" y="9651"/>
                  </a:cubicBezTo>
                  <a:cubicBezTo>
                    <a:pt x="21600" y="9191"/>
                    <a:pt x="21600" y="9191"/>
                    <a:pt x="18450" y="8272"/>
                  </a:cubicBezTo>
                  <a:close/>
                  <a:moveTo>
                    <a:pt x="10800" y="14706"/>
                  </a:moveTo>
                  <a:cubicBezTo>
                    <a:pt x="8550" y="14706"/>
                    <a:pt x="7200" y="12868"/>
                    <a:pt x="7200" y="11030"/>
                  </a:cubicBezTo>
                  <a:cubicBezTo>
                    <a:pt x="7200" y="8732"/>
                    <a:pt x="8550" y="7353"/>
                    <a:pt x="10800" y="7353"/>
                  </a:cubicBezTo>
                  <a:cubicBezTo>
                    <a:pt x="13050" y="7353"/>
                    <a:pt x="14400" y="8732"/>
                    <a:pt x="14400" y="11030"/>
                  </a:cubicBezTo>
                  <a:cubicBezTo>
                    <a:pt x="14400" y="12868"/>
                    <a:pt x="13050" y="14706"/>
                    <a:pt x="10800" y="14706"/>
                  </a:cubicBezTo>
                  <a:close/>
                  <a:moveTo>
                    <a:pt x="10800" y="14706"/>
                  </a:moveTo>
                  <a:cubicBezTo>
                    <a:pt x="10800" y="14706"/>
                    <a:pt x="10800" y="14706"/>
                    <a:pt x="10800" y="14706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06055D50-B620-41AD-9E3B-505639B612E6}"/>
                </a:ext>
              </a:extLst>
            </p:cNvPr>
            <p:cNvSpPr/>
            <p:nvPr/>
          </p:nvSpPr>
          <p:spPr>
            <a:xfrm>
              <a:off x="620278" y="113572"/>
              <a:ext cx="202393" cy="2023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20" y="8064"/>
                  </a:moveTo>
                  <a:cubicBezTo>
                    <a:pt x="18432" y="7200"/>
                    <a:pt x="18432" y="7200"/>
                    <a:pt x="18432" y="7200"/>
                  </a:cubicBezTo>
                  <a:cubicBezTo>
                    <a:pt x="19584" y="4320"/>
                    <a:pt x="19584" y="4320"/>
                    <a:pt x="19296" y="4032"/>
                  </a:cubicBezTo>
                  <a:cubicBezTo>
                    <a:pt x="17568" y="2304"/>
                    <a:pt x="17568" y="2304"/>
                    <a:pt x="17568" y="2304"/>
                  </a:cubicBezTo>
                  <a:cubicBezTo>
                    <a:pt x="17568" y="2304"/>
                    <a:pt x="17568" y="2304"/>
                    <a:pt x="17568" y="2304"/>
                  </a:cubicBezTo>
                  <a:cubicBezTo>
                    <a:pt x="17280" y="2304"/>
                    <a:pt x="17280" y="2304"/>
                    <a:pt x="17280" y="2304"/>
                  </a:cubicBezTo>
                  <a:cubicBezTo>
                    <a:pt x="17280" y="2304"/>
                    <a:pt x="16992" y="2304"/>
                    <a:pt x="14400" y="3456"/>
                  </a:cubicBezTo>
                  <a:cubicBezTo>
                    <a:pt x="13536" y="3168"/>
                    <a:pt x="13536" y="3168"/>
                    <a:pt x="13536" y="3168"/>
                  </a:cubicBezTo>
                  <a:cubicBezTo>
                    <a:pt x="12384" y="0"/>
                    <a:pt x="12384" y="0"/>
                    <a:pt x="11808" y="0"/>
                  </a:cubicBezTo>
                  <a:cubicBezTo>
                    <a:pt x="9504" y="0"/>
                    <a:pt x="9504" y="0"/>
                    <a:pt x="9504" y="0"/>
                  </a:cubicBezTo>
                  <a:cubicBezTo>
                    <a:pt x="9216" y="0"/>
                    <a:pt x="9216" y="0"/>
                    <a:pt x="8064" y="3168"/>
                  </a:cubicBezTo>
                  <a:cubicBezTo>
                    <a:pt x="7200" y="3456"/>
                    <a:pt x="7200" y="3456"/>
                    <a:pt x="7200" y="3456"/>
                  </a:cubicBezTo>
                  <a:cubicBezTo>
                    <a:pt x="5472" y="2592"/>
                    <a:pt x="4608" y="2304"/>
                    <a:pt x="4320" y="2304"/>
                  </a:cubicBezTo>
                  <a:cubicBezTo>
                    <a:pt x="4032" y="2304"/>
                    <a:pt x="4032" y="2304"/>
                    <a:pt x="4032" y="2304"/>
                  </a:cubicBezTo>
                  <a:cubicBezTo>
                    <a:pt x="2304" y="4032"/>
                    <a:pt x="2304" y="4032"/>
                    <a:pt x="2304" y="4032"/>
                  </a:cubicBezTo>
                  <a:cubicBezTo>
                    <a:pt x="2016" y="4320"/>
                    <a:pt x="2016" y="4320"/>
                    <a:pt x="3168" y="7200"/>
                  </a:cubicBezTo>
                  <a:cubicBezTo>
                    <a:pt x="2880" y="8064"/>
                    <a:pt x="2880" y="8064"/>
                    <a:pt x="2880" y="8064"/>
                  </a:cubicBezTo>
                  <a:cubicBezTo>
                    <a:pt x="0" y="9216"/>
                    <a:pt x="0" y="9504"/>
                    <a:pt x="0" y="9792"/>
                  </a:cubicBezTo>
                  <a:cubicBezTo>
                    <a:pt x="0" y="12096"/>
                    <a:pt x="0" y="12096"/>
                    <a:pt x="0" y="12096"/>
                  </a:cubicBezTo>
                  <a:cubicBezTo>
                    <a:pt x="0" y="12384"/>
                    <a:pt x="0" y="12384"/>
                    <a:pt x="2880" y="13536"/>
                  </a:cubicBezTo>
                  <a:cubicBezTo>
                    <a:pt x="3168" y="14400"/>
                    <a:pt x="3168" y="14400"/>
                    <a:pt x="3168" y="14400"/>
                  </a:cubicBezTo>
                  <a:cubicBezTo>
                    <a:pt x="2016" y="17280"/>
                    <a:pt x="2016" y="17280"/>
                    <a:pt x="2304" y="17568"/>
                  </a:cubicBezTo>
                  <a:cubicBezTo>
                    <a:pt x="4032" y="19296"/>
                    <a:pt x="4032" y="19296"/>
                    <a:pt x="4032" y="19296"/>
                  </a:cubicBezTo>
                  <a:cubicBezTo>
                    <a:pt x="4032" y="19296"/>
                    <a:pt x="4032" y="19296"/>
                    <a:pt x="4032" y="19296"/>
                  </a:cubicBezTo>
                  <a:cubicBezTo>
                    <a:pt x="4320" y="19296"/>
                    <a:pt x="4320" y="19296"/>
                    <a:pt x="4320" y="19296"/>
                  </a:cubicBezTo>
                  <a:cubicBezTo>
                    <a:pt x="4320" y="19296"/>
                    <a:pt x="4608" y="19296"/>
                    <a:pt x="7200" y="18144"/>
                  </a:cubicBezTo>
                  <a:cubicBezTo>
                    <a:pt x="8064" y="18720"/>
                    <a:pt x="8064" y="18720"/>
                    <a:pt x="8064" y="18720"/>
                  </a:cubicBezTo>
                  <a:cubicBezTo>
                    <a:pt x="9216" y="21600"/>
                    <a:pt x="9504" y="21600"/>
                    <a:pt x="9792" y="21600"/>
                  </a:cubicBezTo>
                  <a:cubicBezTo>
                    <a:pt x="12096" y="21600"/>
                    <a:pt x="12096" y="21600"/>
                    <a:pt x="12096" y="21600"/>
                  </a:cubicBezTo>
                  <a:cubicBezTo>
                    <a:pt x="12384" y="21600"/>
                    <a:pt x="12384" y="21600"/>
                    <a:pt x="13536" y="18720"/>
                  </a:cubicBezTo>
                  <a:cubicBezTo>
                    <a:pt x="14400" y="18144"/>
                    <a:pt x="14400" y="18144"/>
                    <a:pt x="14400" y="18144"/>
                  </a:cubicBezTo>
                  <a:cubicBezTo>
                    <a:pt x="16128" y="19008"/>
                    <a:pt x="16992" y="19296"/>
                    <a:pt x="17280" y="19296"/>
                  </a:cubicBezTo>
                  <a:cubicBezTo>
                    <a:pt x="17568" y="19296"/>
                    <a:pt x="17568" y="19296"/>
                    <a:pt x="17568" y="19296"/>
                  </a:cubicBezTo>
                  <a:cubicBezTo>
                    <a:pt x="19296" y="17568"/>
                    <a:pt x="19296" y="17568"/>
                    <a:pt x="19296" y="17568"/>
                  </a:cubicBezTo>
                  <a:cubicBezTo>
                    <a:pt x="19584" y="17280"/>
                    <a:pt x="19584" y="17280"/>
                    <a:pt x="18432" y="14400"/>
                  </a:cubicBezTo>
                  <a:cubicBezTo>
                    <a:pt x="18720" y="13536"/>
                    <a:pt x="18720" y="13536"/>
                    <a:pt x="18720" y="13536"/>
                  </a:cubicBezTo>
                  <a:cubicBezTo>
                    <a:pt x="21600" y="12384"/>
                    <a:pt x="21600" y="12096"/>
                    <a:pt x="21600" y="11808"/>
                  </a:cubicBezTo>
                  <a:cubicBezTo>
                    <a:pt x="21600" y="9792"/>
                    <a:pt x="21600" y="9792"/>
                    <a:pt x="21600" y="9792"/>
                  </a:cubicBezTo>
                  <a:cubicBezTo>
                    <a:pt x="21600" y="9216"/>
                    <a:pt x="21600" y="9216"/>
                    <a:pt x="18720" y="8064"/>
                  </a:cubicBezTo>
                  <a:close/>
                  <a:moveTo>
                    <a:pt x="10944" y="14688"/>
                  </a:moveTo>
                  <a:cubicBezTo>
                    <a:pt x="8640" y="14688"/>
                    <a:pt x="6912" y="12960"/>
                    <a:pt x="6912" y="10944"/>
                  </a:cubicBezTo>
                  <a:cubicBezTo>
                    <a:pt x="6912" y="8640"/>
                    <a:pt x="8640" y="7200"/>
                    <a:pt x="10944" y="7200"/>
                  </a:cubicBezTo>
                  <a:cubicBezTo>
                    <a:pt x="12960" y="7200"/>
                    <a:pt x="14688" y="8640"/>
                    <a:pt x="14688" y="10944"/>
                  </a:cubicBezTo>
                  <a:cubicBezTo>
                    <a:pt x="14688" y="12960"/>
                    <a:pt x="12960" y="14688"/>
                    <a:pt x="10944" y="14688"/>
                  </a:cubicBezTo>
                  <a:close/>
                  <a:moveTo>
                    <a:pt x="10944" y="14688"/>
                  </a:moveTo>
                  <a:cubicBezTo>
                    <a:pt x="10944" y="14688"/>
                    <a:pt x="10944" y="14688"/>
                    <a:pt x="10944" y="14688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913182C8-19C0-47A0-BD78-F8B8021A6D0F}"/>
                </a:ext>
              </a:extLst>
            </p:cNvPr>
            <p:cNvSpPr/>
            <p:nvPr/>
          </p:nvSpPr>
          <p:spPr>
            <a:xfrm>
              <a:off x="347997" y="1841907"/>
              <a:ext cx="205305" cy="1994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74" y="8173"/>
                  </a:moveTo>
                  <a:cubicBezTo>
                    <a:pt x="18189" y="7297"/>
                    <a:pt x="18189" y="7297"/>
                    <a:pt x="18189" y="7297"/>
                  </a:cubicBezTo>
                  <a:cubicBezTo>
                    <a:pt x="19326" y="4378"/>
                    <a:pt x="19326" y="4086"/>
                    <a:pt x="19042" y="4086"/>
                  </a:cubicBezTo>
                  <a:cubicBezTo>
                    <a:pt x="17621" y="2335"/>
                    <a:pt x="17621" y="2335"/>
                    <a:pt x="17621" y="2335"/>
                  </a:cubicBezTo>
                  <a:cubicBezTo>
                    <a:pt x="17337" y="2335"/>
                    <a:pt x="17337" y="2335"/>
                    <a:pt x="17337" y="2335"/>
                  </a:cubicBezTo>
                  <a:cubicBezTo>
                    <a:pt x="17053" y="2335"/>
                    <a:pt x="17053" y="2335"/>
                    <a:pt x="17053" y="2335"/>
                  </a:cubicBezTo>
                  <a:cubicBezTo>
                    <a:pt x="17053" y="2335"/>
                    <a:pt x="16768" y="2335"/>
                    <a:pt x="14211" y="3503"/>
                  </a:cubicBezTo>
                  <a:cubicBezTo>
                    <a:pt x="13358" y="2919"/>
                    <a:pt x="13358" y="2919"/>
                    <a:pt x="13358" y="2919"/>
                  </a:cubicBezTo>
                  <a:cubicBezTo>
                    <a:pt x="12221" y="0"/>
                    <a:pt x="12221" y="0"/>
                    <a:pt x="11937" y="0"/>
                  </a:cubicBezTo>
                  <a:cubicBezTo>
                    <a:pt x="9663" y="0"/>
                    <a:pt x="9663" y="0"/>
                    <a:pt x="9663" y="0"/>
                  </a:cubicBezTo>
                  <a:cubicBezTo>
                    <a:pt x="9095" y="0"/>
                    <a:pt x="9095" y="0"/>
                    <a:pt x="7958" y="2919"/>
                  </a:cubicBezTo>
                  <a:cubicBezTo>
                    <a:pt x="7105" y="3503"/>
                    <a:pt x="7105" y="3503"/>
                    <a:pt x="7105" y="3503"/>
                  </a:cubicBezTo>
                  <a:cubicBezTo>
                    <a:pt x="5400" y="2627"/>
                    <a:pt x="4547" y="2335"/>
                    <a:pt x="4263" y="2335"/>
                  </a:cubicBezTo>
                  <a:cubicBezTo>
                    <a:pt x="3979" y="2335"/>
                    <a:pt x="3979" y="2335"/>
                    <a:pt x="3979" y="2335"/>
                  </a:cubicBezTo>
                  <a:cubicBezTo>
                    <a:pt x="2274" y="4086"/>
                    <a:pt x="2274" y="4086"/>
                    <a:pt x="2274" y="4086"/>
                  </a:cubicBezTo>
                  <a:cubicBezTo>
                    <a:pt x="1989" y="4378"/>
                    <a:pt x="1989" y="4378"/>
                    <a:pt x="3411" y="7297"/>
                  </a:cubicBezTo>
                  <a:cubicBezTo>
                    <a:pt x="2842" y="8173"/>
                    <a:pt x="2842" y="8173"/>
                    <a:pt x="2842" y="8173"/>
                  </a:cubicBezTo>
                  <a:cubicBezTo>
                    <a:pt x="0" y="9341"/>
                    <a:pt x="0" y="9341"/>
                    <a:pt x="0" y="9632"/>
                  </a:cubicBezTo>
                  <a:cubicBezTo>
                    <a:pt x="0" y="11968"/>
                    <a:pt x="0" y="11968"/>
                    <a:pt x="0" y="11968"/>
                  </a:cubicBezTo>
                  <a:cubicBezTo>
                    <a:pt x="0" y="12551"/>
                    <a:pt x="0" y="12551"/>
                    <a:pt x="2842" y="13719"/>
                  </a:cubicBezTo>
                  <a:cubicBezTo>
                    <a:pt x="3411" y="14595"/>
                    <a:pt x="3411" y="14595"/>
                    <a:pt x="3411" y="14595"/>
                  </a:cubicBezTo>
                  <a:cubicBezTo>
                    <a:pt x="1989" y="17514"/>
                    <a:pt x="1989" y="17514"/>
                    <a:pt x="2274" y="17805"/>
                  </a:cubicBezTo>
                  <a:cubicBezTo>
                    <a:pt x="3979" y="19265"/>
                    <a:pt x="3979" y="19265"/>
                    <a:pt x="3979" y="19265"/>
                  </a:cubicBezTo>
                  <a:cubicBezTo>
                    <a:pt x="3979" y="19557"/>
                    <a:pt x="3979" y="19557"/>
                    <a:pt x="3979" y="19557"/>
                  </a:cubicBezTo>
                  <a:cubicBezTo>
                    <a:pt x="4263" y="19557"/>
                    <a:pt x="4263" y="19557"/>
                    <a:pt x="4263" y="19557"/>
                  </a:cubicBezTo>
                  <a:cubicBezTo>
                    <a:pt x="4263" y="19557"/>
                    <a:pt x="4547" y="19557"/>
                    <a:pt x="7105" y="18389"/>
                  </a:cubicBezTo>
                  <a:cubicBezTo>
                    <a:pt x="7958" y="18681"/>
                    <a:pt x="7958" y="18681"/>
                    <a:pt x="7958" y="18681"/>
                  </a:cubicBezTo>
                  <a:cubicBezTo>
                    <a:pt x="9095" y="21600"/>
                    <a:pt x="9379" y="21600"/>
                    <a:pt x="9663" y="21600"/>
                  </a:cubicBezTo>
                  <a:cubicBezTo>
                    <a:pt x="11937" y="21600"/>
                    <a:pt x="11937" y="21600"/>
                    <a:pt x="11937" y="21600"/>
                  </a:cubicBezTo>
                  <a:cubicBezTo>
                    <a:pt x="12221" y="21600"/>
                    <a:pt x="12505" y="21600"/>
                    <a:pt x="13358" y="18681"/>
                  </a:cubicBezTo>
                  <a:cubicBezTo>
                    <a:pt x="14211" y="18389"/>
                    <a:pt x="14211" y="18389"/>
                    <a:pt x="14211" y="18389"/>
                  </a:cubicBezTo>
                  <a:cubicBezTo>
                    <a:pt x="15916" y="18973"/>
                    <a:pt x="17053" y="19557"/>
                    <a:pt x="17337" y="19557"/>
                  </a:cubicBezTo>
                  <a:cubicBezTo>
                    <a:pt x="17337" y="19557"/>
                    <a:pt x="17337" y="19557"/>
                    <a:pt x="17337" y="19557"/>
                  </a:cubicBezTo>
                  <a:cubicBezTo>
                    <a:pt x="19042" y="17805"/>
                    <a:pt x="19042" y="17805"/>
                    <a:pt x="19042" y="17805"/>
                  </a:cubicBezTo>
                  <a:cubicBezTo>
                    <a:pt x="19326" y="17514"/>
                    <a:pt x="19611" y="17222"/>
                    <a:pt x="18189" y="14595"/>
                  </a:cubicBezTo>
                  <a:cubicBezTo>
                    <a:pt x="18474" y="13719"/>
                    <a:pt x="18474" y="13719"/>
                    <a:pt x="18474" y="13719"/>
                  </a:cubicBezTo>
                  <a:cubicBezTo>
                    <a:pt x="21600" y="12551"/>
                    <a:pt x="21600" y="12259"/>
                    <a:pt x="21600" y="11968"/>
                  </a:cubicBezTo>
                  <a:cubicBezTo>
                    <a:pt x="21600" y="9632"/>
                    <a:pt x="21600" y="9632"/>
                    <a:pt x="21600" y="9632"/>
                  </a:cubicBezTo>
                  <a:cubicBezTo>
                    <a:pt x="21600" y="9341"/>
                    <a:pt x="21600" y="9341"/>
                    <a:pt x="18474" y="8173"/>
                  </a:cubicBezTo>
                  <a:close/>
                  <a:moveTo>
                    <a:pt x="10800" y="14595"/>
                  </a:moveTo>
                  <a:cubicBezTo>
                    <a:pt x="8526" y="14595"/>
                    <a:pt x="6821" y="12843"/>
                    <a:pt x="6821" y="10800"/>
                  </a:cubicBezTo>
                  <a:cubicBezTo>
                    <a:pt x="6821" y="8757"/>
                    <a:pt x="8526" y="7005"/>
                    <a:pt x="10800" y="7005"/>
                  </a:cubicBezTo>
                  <a:cubicBezTo>
                    <a:pt x="12789" y="7005"/>
                    <a:pt x="14495" y="8757"/>
                    <a:pt x="14495" y="10800"/>
                  </a:cubicBezTo>
                  <a:cubicBezTo>
                    <a:pt x="14495" y="12843"/>
                    <a:pt x="12789" y="14595"/>
                    <a:pt x="10800" y="14595"/>
                  </a:cubicBezTo>
                  <a:close/>
                  <a:moveTo>
                    <a:pt x="10800" y="14595"/>
                  </a:moveTo>
                  <a:cubicBezTo>
                    <a:pt x="10800" y="14595"/>
                    <a:pt x="10800" y="14595"/>
                    <a:pt x="10800" y="14595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00950F7E-E52E-4A65-B780-90497826C299}"/>
                </a:ext>
              </a:extLst>
            </p:cNvPr>
            <p:cNvSpPr/>
            <p:nvPr/>
          </p:nvSpPr>
          <p:spPr>
            <a:xfrm>
              <a:off x="94643" y="682889"/>
              <a:ext cx="205305" cy="1994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74" y="8173"/>
                  </a:moveTo>
                  <a:cubicBezTo>
                    <a:pt x="18189" y="7297"/>
                    <a:pt x="18189" y="7297"/>
                    <a:pt x="18189" y="7297"/>
                  </a:cubicBezTo>
                  <a:cubicBezTo>
                    <a:pt x="19326" y="4378"/>
                    <a:pt x="19326" y="4378"/>
                    <a:pt x="19042" y="4086"/>
                  </a:cubicBezTo>
                  <a:cubicBezTo>
                    <a:pt x="17621" y="2335"/>
                    <a:pt x="17621" y="2335"/>
                    <a:pt x="17621" y="2335"/>
                  </a:cubicBezTo>
                  <a:cubicBezTo>
                    <a:pt x="17337" y="2335"/>
                    <a:pt x="17337" y="2335"/>
                    <a:pt x="17337" y="2335"/>
                  </a:cubicBezTo>
                  <a:cubicBezTo>
                    <a:pt x="17053" y="2335"/>
                    <a:pt x="17053" y="2335"/>
                    <a:pt x="17053" y="2335"/>
                  </a:cubicBezTo>
                  <a:cubicBezTo>
                    <a:pt x="17053" y="2335"/>
                    <a:pt x="16768" y="2335"/>
                    <a:pt x="14495" y="3503"/>
                  </a:cubicBezTo>
                  <a:cubicBezTo>
                    <a:pt x="13358" y="2919"/>
                    <a:pt x="13358" y="2919"/>
                    <a:pt x="13358" y="2919"/>
                  </a:cubicBezTo>
                  <a:cubicBezTo>
                    <a:pt x="12221" y="0"/>
                    <a:pt x="12221" y="0"/>
                    <a:pt x="11937" y="0"/>
                  </a:cubicBezTo>
                  <a:cubicBezTo>
                    <a:pt x="9663" y="0"/>
                    <a:pt x="9663" y="0"/>
                    <a:pt x="9663" y="0"/>
                  </a:cubicBezTo>
                  <a:cubicBezTo>
                    <a:pt x="9379" y="0"/>
                    <a:pt x="9095" y="0"/>
                    <a:pt x="7958" y="2919"/>
                  </a:cubicBezTo>
                  <a:cubicBezTo>
                    <a:pt x="7105" y="3503"/>
                    <a:pt x="7105" y="3503"/>
                    <a:pt x="7105" y="3503"/>
                  </a:cubicBezTo>
                  <a:cubicBezTo>
                    <a:pt x="5400" y="2627"/>
                    <a:pt x="4547" y="2335"/>
                    <a:pt x="4263" y="2335"/>
                  </a:cubicBezTo>
                  <a:cubicBezTo>
                    <a:pt x="3979" y="2335"/>
                    <a:pt x="3979" y="2335"/>
                    <a:pt x="3979" y="2335"/>
                  </a:cubicBezTo>
                  <a:cubicBezTo>
                    <a:pt x="2274" y="4086"/>
                    <a:pt x="2274" y="4086"/>
                    <a:pt x="2274" y="4086"/>
                  </a:cubicBezTo>
                  <a:cubicBezTo>
                    <a:pt x="1989" y="4378"/>
                    <a:pt x="1989" y="4378"/>
                    <a:pt x="3411" y="7297"/>
                  </a:cubicBezTo>
                  <a:cubicBezTo>
                    <a:pt x="2842" y="8173"/>
                    <a:pt x="2842" y="8173"/>
                    <a:pt x="2842" y="8173"/>
                  </a:cubicBezTo>
                  <a:cubicBezTo>
                    <a:pt x="0" y="9341"/>
                    <a:pt x="0" y="9341"/>
                    <a:pt x="0" y="9924"/>
                  </a:cubicBezTo>
                  <a:cubicBezTo>
                    <a:pt x="0" y="11968"/>
                    <a:pt x="0" y="11968"/>
                    <a:pt x="0" y="11968"/>
                  </a:cubicBezTo>
                  <a:cubicBezTo>
                    <a:pt x="0" y="12551"/>
                    <a:pt x="0" y="12551"/>
                    <a:pt x="2842" y="13719"/>
                  </a:cubicBezTo>
                  <a:cubicBezTo>
                    <a:pt x="3411" y="14595"/>
                    <a:pt x="3411" y="14595"/>
                    <a:pt x="3411" y="14595"/>
                  </a:cubicBezTo>
                  <a:cubicBezTo>
                    <a:pt x="1989" y="17514"/>
                    <a:pt x="2274" y="17514"/>
                    <a:pt x="2274" y="17805"/>
                  </a:cubicBezTo>
                  <a:cubicBezTo>
                    <a:pt x="3979" y="19265"/>
                    <a:pt x="3979" y="19265"/>
                    <a:pt x="3979" y="19265"/>
                  </a:cubicBezTo>
                  <a:cubicBezTo>
                    <a:pt x="4263" y="19557"/>
                    <a:pt x="4263" y="19557"/>
                    <a:pt x="4263" y="19557"/>
                  </a:cubicBezTo>
                  <a:cubicBezTo>
                    <a:pt x="4263" y="19557"/>
                    <a:pt x="4263" y="19557"/>
                    <a:pt x="4263" y="19557"/>
                  </a:cubicBezTo>
                  <a:cubicBezTo>
                    <a:pt x="4547" y="19557"/>
                    <a:pt x="4832" y="19557"/>
                    <a:pt x="7105" y="18389"/>
                  </a:cubicBezTo>
                  <a:cubicBezTo>
                    <a:pt x="7958" y="18681"/>
                    <a:pt x="7958" y="18681"/>
                    <a:pt x="7958" y="18681"/>
                  </a:cubicBezTo>
                  <a:cubicBezTo>
                    <a:pt x="9095" y="21600"/>
                    <a:pt x="9379" y="21600"/>
                    <a:pt x="9663" y="21600"/>
                  </a:cubicBezTo>
                  <a:cubicBezTo>
                    <a:pt x="11937" y="21600"/>
                    <a:pt x="11937" y="21600"/>
                    <a:pt x="11937" y="21600"/>
                  </a:cubicBezTo>
                  <a:cubicBezTo>
                    <a:pt x="12221" y="21600"/>
                    <a:pt x="12505" y="21600"/>
                    <a:pt x="13358" y="18681"/>
                  </a:cubicBezTo>
                  <a:cubicBezTo>
                    <a:pt x="14495" y="18389"/>
                    <a:pt x="14495" y="18389"/>
                    <a:pt x="14495" y="18389"/>
                  </a:cubicBezTo>
                  <a:cubicBezTo>
                    <a:pt x="15916" y="18973"/>
                    <a:pt x="17053" y="19557"/>
                    <a:pt x="17337" y="19557"/>
                  </a:cubicBezTo>
                  <a:cubicBezTo>
                    <a:pt x="17337" y="19557"/>
                    <a:pt x="17337" y="19557"/>
                    <a:pt x="17337" y="19557"/>
                  </a:cubicBezTo>
                  <a:cubicBezTo>
                    <a:pt x="19326" y="17805"/>
                    <a:pt x="19326" y="17805"/>
                    <a:pt x="19326" y="17805"/>
                  </a:cubicBezTo>
                  <a:cubicBezTo>
                    <a:pt x="19326" y="17514"/>
                    <a:pt x="19611" y="17514"/>
                    <a:pt x="18189" y="14595"/>
                  </a:cubicBezTo>
                  <a:cubicBezTo>
                    <a:pt x="18474" y="13719"/>
                    <a:pt x="18474" y="13719"/>
                    <a:pt x="18474" y="13719"/>
                  </a:cubicBezTo>
                  <a:cubicBezTo>
                    <a:pt x="21600" y="12551"/>
                    <a:pt x="21600" y="12259"/>
                    <a:pt x="21600" y="11968"/>
                  </a:cubicBezTo>
                  <a:cubicBezTo>
                    <a:pt x="21600" y="9632"/>
                    <a:pt x="21600" y="9632"/>
                    <a:pt x="21600" y="9632"/>
                  </a:cubicBezTo>
                  <a:cubicBezTo>
                    <a:pt x="21600" y="9341"/>
                    <a:pt x="21600" y="9341"/>
                    <a:pt x="18474" y="8173"/>
                  </a:cubicBezTo>
                  <a:close/>
                  <a:moveTo>
                    <a:pt x="10800" y="14595"/>
                  </a:moveTo>
                  <a:cubicBezTo>
                    <a:pt x="8811" y="14595"/>
                    <a:pt x="7105" y="13135"/>
                    <a:pt x="7105" y="10800"/>
                  </a:cubicBezTo>
                  <a:cubicBezTo>
                    <a:pt x="7105" y="8757"/>
                    <a:pt x="8811" y="7005"/>
                    <a:pt x="10800" y="7005"/>
                  </a:cubicBezTo>
                  <a:cubicBezTo>
                    <a:pt x="12789" y="7005"/>
                    <a:pt x="14495" y="8757"/>
                    <a:pt x="14495" y="10800"/>
                  </a:cubicBezTo>
                  <a:cubicBezTo>
                    <a:pt x="14495" y="13135"/>
                    <a:pt x="12789" y="14595"/>
                    <a:pt x="10800" y="14595"/>
                  </a:cubicBezTo>
                  <a:close/>
                  <a:moveTo>
                    <a:pt x="10800" y="14595"/>
                  </a:moveTo>
                  <a:cubicBezTo>
                    <a:pt x="10800" y="14595"/>
                    <a:pt x="10800" y="14595"/>
                    <a:pt x="10800" y="14595"/>
                  </a:cubicBezTo>
                </a:path>
              </a:pathLst>
            </a:custGeom>
            <a:solidFill>
              <a:srgbClr val="44546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6D18B968-59B1-4758-ACDE-442DC76E39FF}"/>
                </a:ext>
              </a:extLst>
            </p:cNvPr>
            <p:cNvSpPr/>
            <p:nvPr/>
          </p:nvSpPr>
          <p:spPr>
            <a:xfrm>
              <a:off x="658136" y="2964524"/>
              <a:ext cx="1042535" cy="784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69" y="7868"/>
                  </a:moveTo>
                  <a:cubicBezTo>
                    <a:pt x="21040" y="7868"/>
                    <a:pt x="21600" y="7126"/>
                    <a:pt x="21600" y="6235"/>
                  </a:cubicBezTo>
                  <a:cubicBezTo>
                    <a:pt x="21600" y="5344"/>
                    <a:pt x="21040" y="4602"/>
                    <a:pt x="20369" y="4602"/>
                  </a:cubicBezTo>
                  <a:cubicBezTo>
                    <a:pt x="20313" y="4602"/>
                    <a:pt x="20313" y="4602"/>
                    <a:pt x="20313" y="4602"/>
                  </a:cubicBezTo>
                  <a:cubicBezTo>
                    <a:pt x="20313" y="3414"/>
                    <a:pt x="20313" y="3414"/>
                    <a:pt x="20313" y="3414"/>
                  </a:cubicBezTo>
                  <a:cubicBezTo>
                    <a:pt x="20369" y="3414"/>
                    <a:pt x="20369" y="3414"/>
                    <a:pt x="20369" y="3414"/>
                  </a:cubicBezTo>
                  <a:cubicBezTo>
                    <a:pt x="21040" y="3414"/>
                    <a:pt x="21600" y="2672"/>
                    <a:pt x="21600" y="1781"/>
                  </a:cubicBezTo>
                  <a:cubicBezTo>
                    <a:pt x="21600" y="891"/>
                    <a:pt x="21040" y="148"/>
                    <a:pt x="20369" y="148"/>
                  </a:cubicBezTo>
                  <a:cubicBezTo>
                    <a:pt x="19250" y="148"/>
                    <a:pt x="19250" y="148"/>
                    <a:pt x="19250" y="148"/>
                  </a:cubicBezTo>
                  <a:cubicBezTo>
                    <a:pt x="19082" y="74"/>
                    <a:pt x="18914" y="0"/>
                    <a:pt x="18746" y="0"/>
                  </a:cubicBezTo>
                  <a:cubicBezTo>
                    <a:pt x="2798" y="0"/>
                    <a:pt x="2798" y="0"/>
                    <a:pt x="2798" y="0"/>
                  </a:cubicBezTo>
                  <a:cubicBezTo>
                    <a:pt x="2630" y="0"/>
                    <a:pt x="2462" y="74"/>
                    <a:pt x="2350" y="148"/>
                  </a:cubicBezTo>
                  <a:cubicBezTo>
                    <a:pt x="1231" y="148"/>
                    <a:pt x="1231" y="148"/>
                    <a:pt x="1231" y="148"/>
                  </a:cubicBezTo>
                  <a:cubicBezTo>
                    <a:pt x="560" y="148"/>
                    <a:pt x="0" y="891"/>
                    <a:pt x="0" y="1781"/>
                  </a:cubicBezTo>
                  <a:cubicBezTo>
                    <a:pt x="0" y="2672"/>
                    <a:pt x="560" y="3414"/>
                    <a:pt x="1231" y="3414"/>
                  </a:cubicBezTo>
                  <a:cubicBezTo>
                    <a:pt x="1287" y="3414"/>
                    <a:pt x="1287" y="3414"/>
                    <a:pt x="1287" y="3414"/>
                  </a:cubicBezTo>
                  <a:cubicBezTo>
                    <a:pt x="1287" y="4602"/>
                    <a:pt x="1287" y="4602"/>
                    <a:pt x="1287" y="4602"/>
                  </a:cubicBezTo>
                  <a:cubicBezTo>
                    <a:pt x="1231" y="4602"/>
                    <a:pt x="1231" y="4602"/>
                    <a:pt x="1231" y="4602"/>
                  </a:cubicBezTo>
                  <a:cubicBezTo>
                    <a:pt x="560" y="4602"/>
                    <a:pt x="0" y="5344"/>
                    <a:pt x="0" y="6235"/>
                  </a:cubicBezTo>
                  <a:cubicBezTo>
                    <a:pt x="0" y="7126"/>
                    <a:pt x="560" y="7868"/>
                    <a:pt x="1231" y="7868"/>
                  </a:cubicBezTo>
                  <a:cubicBezTo>
                    <a:pt x="1287" y="7868"/>
                    <a:pt x="1287" y="7868"/>
                    <a:pt x="1287" y="7868"/>
                  </a:cubicBezTo>
                  <a:cubicBezTo>
                    <a:pt x="1287" y="9056"/>
                    <a:pt x="1287" y="9056"/>
                    <a:pt x="1287" y="9056"/>
                  </a:cubicBezTo>
                  <a:cubicBezTo>
                    <a:pt x="1231" y="9056"/>
                    <a:pt x="1231" y="9056"/>
                    <a:pt x="1231" y="9056"/>
                  </a:cubicBezTo>
                  <a:cubicBezTo>
                    <a:pt x="560" y="9056"/>
                    <a:pt x="0" y="9798"/>
                    <a:pt x="0" y="10689"/>
                  </a:cubicBezTo>
                  <a:cubicBezTo>
                    <a:pt x="0" y="11579"/>
                    <a:pt x="560" y="12322"/>
                    <a:pt x="1231" y="12322"/>
                  </a:cubicBezTo>
                  <a:cubicBezTo>
                    <a:pt x="1287" y="12322"/>
                    <a:pt x="1287" y="12322"/>
                    <a:pt x="1287" y="12322"/>
                  </a:cubicBezTo>
                  <a:cubicBezTo>
                    <a:pt x="1287" y="13658"/>
                    <a:pt x="1287" y="13658"/>
                    <a:pt x="1287" y="13658"/>
                  </a:cubicBezTo>
                  <a:cubicBezTo>
                    <a:pt x="1287" y="14697"/>
                    <a:pt x="1959" y="15662"/>
                    <a:pt x="2798" y="15662"/>
                  </a:cubicBezTo>
                  <a:cubicBezTo>
                    <a:pt x="2798" y="15662"/>
                    <a:pt x="7722" y="21600"/>
                    <a:pt x="9569" y="21600"/>
                  </a:cubicBezTo>
                  <a:cubicBezTo>
                    <a:pt x="10184" y="21600"/>
                    <a:pt x="10520" y="21600"/>
                    <a:pt x="10688" y="21600"/>
                  </a:cubicBezTo>
                  <a:cubicBezTo>
                    <a:pt x="10744" y="21600"/>
                    <a:pt x="10744" y="21600"/>
                    <a:pt x="10800" y="21600"/>
                  </a:cubicBezTo>
                  <a:cubicBezTo>
                    <a:pt x="10856" y="21600"/>
                    <a:pt x="10856" y="21600"/>
                    <a:pt x="10856" y="21600"/>
                  </a:cubicBezTo>
                  <a:cubicBezTo>
                    <a:pt x="11024" y="21600"/>
                    <a:pt x="11416" y="21600"/>
                    <a:pt x="12031" y="21600"/>
                  </a:cubicBezTo>
                  <a:cubicBezTo>
                    <a:pt x="13822" y="21600"/>
                    <a:pt x="18746" y="15662"/>
                    <a:pt x="18746" y="15662"/>
                  </a:cubicBezTo>
                  <a:cubicBezTo>
                    <a:pt x="19585" y="15662"/>
                    <a:pt x="20313" y="14697"/>
                    <a:pt x="20313" y="13658"/>
                  </a:cubicBezTo>
                  <a:cubicBezTo>
                    <a:pt x="20313" y="12322"/>
                    <a:pt x="20313" y="12322"/>
                    <a:pt x="20313" y="12322"/>
                  </a:cubicBezTo>
                  <a:cubicBezTo>
                    <a:pt x="20369" y="12322"/>
                    <a:pt x="20369" y="12322"/>
                    <a:pt x="20369" y="12322"/>
                  </a:cubicBezTo>
                  <a:cubicBezTo>
                    <a:pt x="21040" y="12322"/>
                    <a:pt x="21600" y="11579"/>
                    <a:pt x="21600" y="10689"/>
                  </a:cubicBezTo>
                  <a:cubicBezTo>
                    <a:pt x="21600" y="9798"/>
                    <a:pt x="21040" y="9056"/>
                    <a:pt x="20369" y="9056"/>
                  </a:cubicBezTo>
                  <a:cubicBezTo>
                    <a:pt x="20313" y="9056"/>
                    <a:pt x="20313" y="9056"/>
                    <a:pt x="20313" y="9056"/>
                  </a:cubicBezTo>
                  <a:cubicBezTo>
                    <a:pt x="20313" y="7868"/>
                    <a:pt x="20313" y="7868"/>
                    <a:pt x="20313" y="7868"/>
                  </a:cubicBezTo>
                  <a:lnTo>
                    <a:pt x="20369" y="7868"/>
                  </a:lnTo>
                  <a:close/>
                </a:path>
              </a:pathLst>
            </a:custGeom>
            <a:solidFill>
              <a:srgbClr val="333F5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algn="l" defTabSz="914377">
                <a:lnSpc>
                  <a:spcPct val="100000"/>
                </a:lnSpc>
                <a:defRPr>
                  <a:latin typeface="微软雅黑"/>
                  <a:ea typeface="微软雅黑"/>
                  <a:cs typeface="微软雅黑"/>
                  <a:sym typeface="微软雅黑"/>
                </a:defRPr>
              </a:pPr>
              <a:endParaRPr/>
            </a:p>
          </p:txBody>
        </p:sp>
      </p:grpSp>
      <p:sp>
        <p:nvSpPr>
          <p:cNvPr id="52" name="文本框 51">
            <a:extLst>
              <a:ext uri="{FF2B5EF4-FFF2-40B4-BE49-F238E27FC236}">
                <a16:creationId xmlns:a16="http://schemas.microsoft.com/office/drawing/2014/main" id="{908B8D76-06F2-4B31-B471-CDFDF63E3D85}"/>
              </a:ext>
            </a:extLst>
          </p:cNvPr>
          <p:cNvSpPr txBox="1"/>
          <p:nvPr/>
        </p:nvSpPr>
        <p:spPr>
          <a:xfrm>
            <a:off x="2726049" y="2459043"/>
            <a:ext cx="1377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GUI Design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19B3C53-3473-4356-8CF8-03EFB8F0F3F1}"/>
              </a:ext>
            </a:extLst>
          </p:cNvPr>
          <p:cNvSpPr txBox="1"/>
          <p:nvPr/>
        </p:nvSpPr>
        <p:spPr>
          <a:xfrm>
            <a:off x="7893038" y="2399283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abVIEW Implemetation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30F3E00-0DD0-4F57-9AED-51777B8846CA}"/>
              </a:ext>
            </a:extLst>
          </p:cNvPr>
          <p:cNvSpPr txBox="1"/>
          <p:nvPr/>
        </p:nvSpPr>
        <p:spPr>
          <a:xfrm>
            <a:off x="3287688" y="4273663"/>
            <a:ext cx="16742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OPC Unified Architecture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7FACEBAA-99DF-4B1B-A05F-2648228E0CEE}"/>
              </a:ext>
            </a:extLst>
          </p:cNvPr>
          <p:cNvSpPr txBox="1"/>
          <p:nvPr/>
        </p:nvSpPr>
        <p:spPr>
          <a:xfrm>
            <a:off x="7160273" y="4478448"/>
            <a:ext cx="1329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eal-time Simulation</a:t>
            </a:r>
          </a:p>
        </p:txBody>
      </p:sp>
    </p:spTree>
    <p:extLst>
      <p:ext uri="{BB962C8B-B14F-4D97-AF65-F5344CB8AC3E}">
        <p14:creationId xmlns:p14="http://schemas.microsoft.com/office/powerpoint/2010/main" val="2688738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35971C-0F7B-4693-B856-45DC9CDA7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duction - Challenges</a:t>
            </a:r>
          </a:p>
        </p:txBody>
      </p:sp>
      <p:sp>
        <p:nvSpPr>
          <p:cNvPr id="11" name="组合 2">
            <a:extLst>
              <a:ext uri="{FF2B5EF4-FFF2-40B4-BE49-F238E27FC236}">
                <a16:creationId xmlns:a16="http://schemas.microsoft.com/office/drawing/2014/main" id="{B51F4D86-7A51-4DDD-ABE2-8C395BE0253F}"/>
              </a:ext>
            </a:extLst>
          </p:cNvPr>
          <p:cNvSpPr/>
          <p:nvPr/>
        </p:nvSpPr>
        <p:spPr>
          <a:xfrm flipH="1">
            <a:off x="3895901" y="5048137"/>
            <a:ext cx="78075" cy="78074"/>
          </a:xfrm>
          <a:prstGeom prst="ellipse">
            <a:avLst/>
          </a:prstGeom>
          <a:solidFill>
            <a:schemeClr val="accent3">
              <a:lumOff val="44000"/>
            </a:schemeClr>
          </a:solidFill>
          <a:ln w="6350">
            <a:solidFill>
              <a:srgbClr val="44546A"/>
            </a:solidFill>
            <a:miter/>
          </a:ln>
        </p:spPr>
        <p:txBody>
          <a:bodyPr lIns="45719" rIns="45719" anchor="ctr"/>
          <a:lstStyle/>
          <a:p>
            <a:pPr defTabSz="914377">
              <a:lnSpc>
                <a:spcPct val="100000"/>
              </a:lnSpc>
              <a:defRPr sz="2800">
                <a:latin typeface="微软雅黑"/>
                <a:ea typeface="微软雅黑"/>
                <a:cs typeface="微软雅黑"/>
                <a:sym typeface="微软雅黑"/>
              </a:defRPr>
            </a:pPr>
            <a:endParaRPr/>
          </a:p>
        </p:txBody>
      </p:sp>
      <p:sp>
        <p:nvSpPr>
          <p:cNvPr id="12" name="Data access / investigating measurements…">
            <a:extLst>
              <a:ext uri="{FF2B5EF4-FFF2-40B4-BE49-F238E27FC236}">
                <a16:creationId xmlns:a16="http://schemas.microsoft.com/office/drawing/2014/main" id="{23517790-8745-46EA-805A-0C81C1649FA1}"/>
              </a:ext>
            </a:extLst>
          </p:cNvPr>
          <p:cNvSpPr/>
          <p:nvPr/>
        </p:nvSpPr>
        <p:spPr>
          <a:xfrm>
            <a:off x="2437070" y="1866894"/>
            <a:ext cx="7620000" cy="1079501"/>
          </a:xfrm>
          <a:prstGeom prst="roundRect">
            <a:avLst>
              <a:gd name="adj" fmla="val 17647"/>
            </a:avLst>
          </a:prstGeom>
          <a:solidFill>
            <a:schemeClr val="accent3">
              <a:lumOff val="44000"/>
            </a:schemeClr>
          </a:solidFill>
          <a:ln w="25400">
            <a:solidFill>
              <a:srgbClr val="E6D394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pPr algn="l" defTabSz="1219169">
              <a:lnSpc>
                <a:spcPct val="90000"/>
              </a:lnSpc>
              <a:spcBef>
                <a:spcPts val="1300"/>
              </a:spcBef>
              <a:defRPr>
                <a:solidFill>
                  <a:schemeClr val="accent1">
                    <a:lumOff val="-9921"/>
                  </a:schemeClr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de-DE" b="1" dirty="0">
                <a:solidFill>
                  <a:srgbClr val="FFC000"/>
                </a:solidFill>
              </a:rPr>
              <a:t>GUI designed in LabVIEW</a:t>
            </a:r>
          </a:p>
          <a:p>
            <a:pPr defTabSz="1219169">
              <a:lnSpc>
                <a:spcPct val="90000"/>
              </a:lnSpc>
              <a:spcBef>
                <a:spcPts val="1300"/>
              </a:spcBef>
              <a:defRPr>
                <a:solidFill>
                  <a:schemeClr val="accent1">
                    <a:lumOff val="-9921"/>
                  </a:schemeClr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de-DE" dirty="0">
                <a:solidFill>
                  <a:srgbClr val="FFC000"/>
                </a:solidFill>
              </a:rPr>
              <a:t>How to present comprehensive information </a:t>
            </a:r>
            <a:r>
              <a:rPr lang="de-DE" altLang="zh-CN" dirty="0">
                <a:solidFill>
                  <a:srgbClr val="FFC000"/>
                </a:solidFill>
              </a:rPr>
              <a:t>with GUI?</a:t>
            </a:r>
            <a:endParaRPr dirty="0">
              <a:solidFill>
                <a:srgbClr val="FFC000"/>
              </a:solidFill>
            </a:endParaRPr>
          </a:p>
        </p:txBody>
      </p:sp>
      <p:sp>
        <p:nvSpPr>
          <p:cNvPr id="13" name="Directed graph structure…">
            <a:extLst>
              <a:ext uri="{FF2B5EF4-FFF2-40B4-BE49-F238E27FC236}">
                <a16:creationId xmlns:a16="http://schemas.microsoft.com/office/drawing/2014/main" id="{DAAD9B09-D9F3-42B6-BE81-8FD0E980382D}"/>
              </a:ext>
            </a:extLst>
          </p:cNvPr>
          <p:cNvSpPr/>
          <p:nvPr/>
        </p:nvSpPr>
        <p:spPr>
          <a:xfrm>
            <a:off x="2437070" y="3277406"/>
            <a:ext cx="7620000" cy="1079501"/>
          </a:xfrm>
          <a:prstGeom prst="roundRect">
            <a:avLst>
              <a:gd name="adj" fmla="val 17351"/>
            </a:avLst>
          </a:prstGeom>
          <a:solidFill>
            <a:schemeClr val="accent3">
              <a:lumOff val="44000"/>
            </a:schemeClr>
          </a:solidFill>
          <a:ln w="25400">
            <a:solidFill>
              <a:srgbClr val="4EC9B4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pPr defTabSz="1219169">
              <a:lnSpc>
                <a:spcPct val="90000"/>
              </a:lnSpc>
              <a:spcBef>
                <a:spcPts val="1300"/>
              </a:spcBef>
              <a:defRPr b="1">
                <a:solidFill>
                  <a:srgbClr val="00B393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de-DE" dirty="0">
                <a:sym typeface="微软雅黑"/>
              </a:rPr>
              <a:t>OPC Unified Architecture</a:t>
            </a:r>
          </a:p>
          <a:p>
            <a:pPr defTabSz="1219169">
              <a:lnSpc>
                <a:spcPct val="90000"/>
              </a:lnSpc>
              <a:spcBef>
                <a:spcPts val="1300"/>
              </a:spcBef>
              <a:defRPr b="1">
                <a:solidFill>
                  <a:srgbClr val="00B393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de-DE" dirty="0">
                <a:solidFill>
                  <a:srgbClr val="00CCB4"/>
                </a:solidFill>
                <a:latin typeface="微软雅黑"/>
                <a:ea typeface="微软雅黑"/>
              </a:rPr>
              <a:t>How to build communication based on OPC UA?</a:t>
            </a:r>
            <a:endParaRPr dirty="0">
              <a:solidFill>
                <a:srgbClr val="00CCB4"/>
              </a:solidFill>
              <a:latin typeface="微软雅黑"/>
              <a:ea typeface="微软雅黑"/>
            </a:endParaRPr>
          </a:p>
        </p:txBody>
      </p:sp>
      <p:sp>
        <p:nvSpPr>
          <p:cNvPr id="14" name="Prediction of quality/service…">
            <a:extLst>
              <a:ext uri="{FF2B5EF4-FFF2-40B4-BE49-F238E27FC236}">
                <a16:creationId xmlns:a16="http://schemas.microsoft.com/office/drawing/2014/main" id="{B914E0B9-31C4-409E-BF32-A88CBC93635A}"/>
              </a:ext>
            </a:extLst>
          </p:cNvPr>
          <p:cNvSpPr/>
          <p:nvPr/>
        </p:nvSpPr>
        <p:spPr>
          <a:xfrm>
            <a:off x="2473226" y="4687918"/>
            <a:ext cx="7620000" cy="1079501"/>
          </a:xfrm>
          <a:prstGeom prst="roundRect">
            <a:avLst>
              <a:gd name="adj" fmla="val 17647"/>
            </a:avLst>
          </a:prstGeom>
          <a:solidFill>
            <a:schemeClr val="accent3">
              <a:lumOff val="44000"/>
            </a:schemeClr>
          </a:solidFill>
          <a:ln w="25400">
            <a:solidFill>
              <a:srgbClr val="85DCFB"/>
            </a:solidFill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pPr algn="l" defTabSz="1219169">
              <a:lnSpc>
                <a:spcPct val="90000"/>
              </a:lnSpc>
              <a:spcBef>
                <a:spcPts val="1300"/>
              </a:spcBef>
              <a:defRPr b="1">
                <a:solidFill>
                  <a:srgbClr val="00BAF7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de-DE" dirty="0"/>
              <a:t>Raspberry Pi as Bridge</a:t>
            </a:r>
          </a:p>
          <a:p>
            <a:pPr defTabSz="1219169">
              <a:lnSpc>
                <a:spcPct val="90000"/>
              </a:lnSpc>
              <a:spcBef>
                <a:spcPts val="1300"/>
              </a:spcBef>
              <a:defRPr b="1">
                <a:solidFill>
                  <a:srgbClr val="00BAF7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en-US" dirty="0"/>
              <a:t>How to coordinate different communication protocols?</a:t>
            </a:r>
            <a:endParaRPr lang="de-DE" dirty="0"/>
          </a:p>
        </p:txBody>
      </p:sp>
      <p:sp>
        <p:nvSpPr>
          <p:cNvPr id="15" name="2">
            <a:extLst>
              <a:ext uri="{FF2B5EF4-FFF2-40B4-BE49-F238E27FC236}">
                <a16:creationId xmlns:a16="http://schemas.microsoft.com/office/drawing/2014/main" id="{A744BBDF-2D97-4140-BC2A-77821C2354A0}"/>
              </a:ext>
            </a:extLst>
          </p:cNvPr>
          <p:cNvSpPr txBox="1"/>
          <p:nvPr/>
        </p:nvSpPr>
        <p:spPr>
          <a:xfrm>
            <a:off x="1756522" y="2008709"/>
            <a:ext cx="441786" cy="846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4900" b="1">
                <a:solidFill>
                  <a:srgbClr val="CEA923"/>
                </a:solidFill>
              </a:defRPr>
            </a:lvl1pPr>
          </a:lstStyle>
          <a:p>
            <a:r>
              <a:rPr lang="de-DE" dirty="0"/>
              <a:t>1</a:t>
            </a:r>
            <a:endParaRPr dirty="0"/>
          </a:p>
        </p:txBody>
      </p:sp>
      <p:sp>
        <p:nvSpPr>
          <p:cNvPr id="16" name="3">
            <a:extLst>
              <a:ext uri="{FF2B5EF4-FFF2-40B4-BE49-F238E27FC236}">
                <a16:creationId xmlns:a16="http://schemas.microsoft.com/office/drawing/2014/main" id="{2E3F044D-4217-4C0E-9FBB-83CF5CC6E830}"/>
              </a:ext>
            </a:extLst>
          </p:cNvPr>
          <p:cNvSpPr txBox="1"/>
          <p:nvPr/>
        </p:nvSpPr>
        <p:spPr>
          <a:xfrm>
            <a:off x="1786947" y="3392439"/>
            <a:ext cx="441786" cy="846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4900" b="1">
                <a:solidFill>
                  <a:srgbClr val="2DB496"/>
                </a:solidFill>
              </a:defRPr>
            </a:lvl1pPr>
          </a:lstStyle>
          <a:p>
            <a:r>
              <a:rPr lang="de-DE" dirty="0"/>
              <a:t>2</a:t>
            </a:r>
            <a:endParaRPr dirty="0"/>
          </a:p>
        </p:txBody>
      </p:sp>
      <p:sp>
        <p:nvSpPr>
          <p:cNvPr id="17" name="4">
            <a:extLst>
              <a:ext uri="{FF2B5EF4-FFF2-40B4-BE49-F238E27FC236}">
                <a16:creationId xmlns:a16="http://schemas.microsoft.com/office/drawing/2014/main" id="{0628E22F-0E46-4571-B9C7-6C285F45B972}"/>
              </a:ext>
            </a:extLst>
          </p:cNvPr>
          <p:cNvSpPr txBox="1"/>
          <p:nvPr/>
        </p:nvSpPr>
        <p:spPr>
          <a:xfrm>
            <a:off x="1786947" y="4825592"/>
            <a:ext cx="441786" cy="846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4900" b="1">
                <a:solidFill>
                  <a:srgbClr val="7AD9FA"/>
                </a:solidFill>
              </a:defRPr>
            </a:lvl1pPr>
          </a:lstStyle>
          <a:p>
            <a:r>
              <a:rPr lang="de-DE" dirty="0"/>
              <a:t>3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85246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ology - Main Topology</a:t>
            </a:r>
            <a:endParaRPr 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6AE9406-BB2E-4653-82CD-E4A270CA70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888" y="2276872"/>
            <a:ext cx="5876578" cy="317081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3095B3D-9CF3-48D0-99D9-DCB245D2C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7662" y="1484784"/>
            <a:ext cx="3386932" cy="483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423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012F0F71-95AA-4C8E-A027-9150154762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840" y="1738300"/>
            <a:ext cx="6010319" cy="3381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ology – Transmission Protocol</a:t>
            </a:r>
            <a:endParaRPr 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A95A565-26BF-48E5-B19F-A34E4EFF55A8}"/>
              </a:ext>
            </a:extLst>
          </p:cNvPr>
          <p:cNvSpPr txBox="1"/>
          <p:nvPr/>
        </p:nvSpPr>
        <p:spPr>
          <a:xfrm>
            <a:off x="7248128" y="3861048"/>
            <a:ext cx="3528392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>
                <a:latin typeface="+mj-lt"/>
              </a:rPr>
              <a:t>UDP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To listen port 800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To receive UDP packet</a:t>
            </a:r>
          </a:p>
          <a:p>
            <a:r>
              <a:rPr lang="de-DE" b="1" dirty="0">
                <a:latin typeface="+mj-lt"/>
              </a:rPr>
              <a:t>UDP Cl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To pack the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To send UDP packet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E8AC725-20F6-4479-992A-753290550364}"/>
              </a:ext>
            </a:extLst>
          </p:cNvPr>
          <p:cNvSpPr txBox="1"/>
          <p:nvPr/>
        </p:nvSpPr>
        <p:spPr>
          <a:xfrm>
            <a:off x="1019436" y="3789040"/>
            <a:ext cx="3672408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/>
              <a:t>OPC Unified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munication with industrial equipment and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pen - freely avail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ross-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Robust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....</a:t>
            </a:r>
          </a:p>
        </p:txBody>
      </p:sp>
    </p:spTree>
    <p:extLst>
      <p:ext uri="{BB962C8B-B14F-4D97-AF65-F5344CB8AC3E}">
        <p14:creationId xmlns:p14="http://schemas.microsoft.com/office/powerpoint/2010/main" val="21710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D830F3-C6D9-442E-9D25-2F49BF926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- RT-LAB Project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7CDC26D-2FF4-42D5-A295-6C916997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76" y="1555051"/>
            <a:ext cx="3954576" cy="4320480"/>
          </a:xfrm>
          <a:prstGeom prst="rect">
            <a:avLst/>
          </a:prstGeom>
        </p:spPr>
      </p:pic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D08562C6-3349-4295-BBC3-80063A928CF9}"/>
              </a:ext>
            </a:extLst>
          </p:cNvPr>
          <p:cNvCxnSpPr>
            <a:cxnSpLocks/>
          </p:cNvCxnSpPr>
          <p:nvPr/>
        </p:nvCxnSpPr>
        <p:spPr>
          <a:xfrm flipV="1">
            <a:off x="2146335" y="1982031"/>
            <a:ext cx="3157577" cy="64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BCCD3055-7F37-422E-982B-0FDB3C3F8076}"/>
              </a:ext>
            </a:extLst>
          </p:cNvPr>
          <p:cNvCxnSpPr/>
          <p:nvPr/>
        </p:nvCxnSpPr>
        <p:spPr>
          <a:xfrm flipV="1">
            <a:off x="4151784" y="3284984"/>
            <a:ext cx="1224136" cy="144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9F6D74FD-0945-4183-B959-3958D1D1B71B}"/>
              </a:ext>
            </a:extLst>
          </p:cNvPr>
          <p:cNvSpPr txBox="1"/>
          <p:nvPr/>
        </p:nvSpPr>
        <p:spPr>
          <a:xfrm>
            <a:off x="5432216" y="1621264"/>
            <a:ext cx="1995933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OPAL real-time server</a:t>
            </a:r>
          </a:p>
          <a:p>
            <a:r>
              <a:rPr lang="de-DE" sz="1400" dirty="0"/>
              <a:t>IP: 192.168.1.100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335C471-FC6F-4CDE-A1C5-4D034BA969C5}"/>
              </a:ext>
            </a:extLst>
          </p:cNvPr>
          <p:cNvSpPr txBox="1"/>
          <p:nvPr/>
        </p:nvSpPr>
        <p:spPr>
          <a:xfrm>
            <a:off x="5447928" y="2961818"/>
            <a:ext cx="2808312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sz="1400" dirty="0"/>
              <a:t>Assigned to server target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sz="1400" dirty="0"/>
              <a:t>Load and excute model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altLang="zh-CN" sz="1400" dirty="0"/>
              <a:t>Simulation</a:t>
            </a:r>
            <a:r>
              <a:rPr lang="de-DE" sz="1400" dirty="0"/>
              <a:t> in real-time</a:t>
            </a:r>
          </a:p>
        </p:txBody>
      </p:sp>
    </p:spTree>
    <p:extLst>
      <p:ext uri="{BB962C8B-B14F-4D97-AF65-F5344CB8AC3E}">
        <p14:creationId xmlns:p14="http://schemas.microsoft.com/office/powerpoint/2010/main" val="1197182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59FD21-195A-47A2-9E13-6EB6D4D6B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- Matlab Simulink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7277264-DC39-40BA-A0F6-8422EEC5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1497636"/>
            <a:ext cx="10416480" cy="4789031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C93BCE1A-C4B8-4460-A700-39630919895A}"/>
              </a:ext>
            </a:extLst>
          </p:cNvPr>
          <p:cNvSpPr txBox="1"/>
          <p:nvPr/>
        </p:nvSpPr>
        <p:spPr>
          <a:xfrm>
            <a:off x="8760296" y="2844225"/>
            <a:ext cx="2808312" cy="58477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/>
              <a:t>UDP Client</a:t>
            </a:r>
          </a:p>
          <a:p>
            <a:r>
              <a:rPr lang="de-DE" sz="1400" dirty="0"/>
              <a:t>Send simulation results to Pi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45B6366-2C27-45AC-AEEB-624613AA534E}"/>
              </a:ext>
            </a:extLst>
          </p:cNvPr>
          <p:cNvSpPr txBox="1"/>
          <p:nvPr/>
        </p:nvSpPr>
        <p:spPr>
          <a:xfrm>
            <a:off x="911424" y="3872929"/>
            <a:ext cx="3384376" cy="80021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dirty="0"/>
              <a:t>UDP Server</a:t>
            </a:r>
          </a:p>
          <a:p>
            <a:r>
              <a:rPr lang="de-DE" sz="1400" dirty="0"/>
              <a:t>Listen at port 8001 locally</a:t>
            </a:r>
          </a:p>
          <a:p>
            <a:r>
              <a:rPr lang="de-DE" sz="1400" dirty="0"/>
              <a:t>Wait for receiving data from Pi</a:t>
            </a: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8680DBF1-80D8-4E47-B1BF-F01972B07C51}"/>
              </a:ext>
            </a:extLst>
          </p:cNvPr>
          <p:cNvCxnSpPr/>
          <p:nvPr/>
        </p:nvCxnSpPr>
        <p:spPr>
          <a:xfrm>
            <a:off x="6672064" y="5229200"/>
            <a:ext cx="2448272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A0B54708-46CB-49FD-B613-1538B8C4474C}"/>
              </a:ext>
            </a:extLst>
          </p:cNvPr>
          <p:cNvSpPr txBox="1"/>
          <p:nvPr/>
        </p:nvSpPr>
        <p:spPr>
          <a:xfrm>
            <a:off x="9133366" y="5229200"/>
            <a:ext cx="2090069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Parameters definded in matlab file Script_Initialization.m</a:t>
            </a: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3F47CBC0-9994-48A8-80BC-78AF5D804EF6}"/>
              </a:ext>
            </a:extLst>
          </p:cNvPr>
          <p:cNvCxnSpPr/>
          <p:nvPr/>
        </p:nvCxnSpPr>
        <p:spPr>
          <a:xfrm flipV="1">
            <a:off x="6600056" y="5733256"/>
            <a:ext cx="252028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178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26525C7-8B2E-4334-B61E-B4ACB42EE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ation – Service Configuration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F5544EA-143B-4BBB-91B3-1963BB3F5E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67" y="1700808"/>
            <a:ext cx="4724435" cy="3119460"/>
          </a:xfrm>
          <a:prstGeom prst="rect">
            <a:avLst/>
          </a:prstGeom>
        </p:spPr>
      </p:pic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9072709E-7291-44B7-BD0C-1ECF349616C7}"/>
              </a:ext>
            </a:extLst>
          </p:cNvPr>
          <p:cNvCxnSpPr/>
          <p:nvPr/>
        </p:nvCxnSpPr>
        <p:spPr>
          <a:xfrm flipV="1">
            <a:off x="3575720" y="1772816"/>
            <a:ext cx="2664296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68B4C7D8-E819-4CC9-980C-EC802E20F1FF}"/>
              </a:ext>
            </a:extLst>
          </p:cNvPr>
          <p:cNvSpPr txBox="1"/>
          <p:nvPr/>
        </p:nvSpPr>
        <p:spPr>
          <a:xfrm>
            <a:off x="6264339" y="1583126"/>
            <a:ext cx="3288046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Load the parameters name from txt file</a:t>
            </a:r>
          </a:p>
          <a:p>
            <a:r>
              <a:rPr lang="de-DE" sz="1400" dirty="0"/>
              <a:t>e.g. GasLevel, P, f, kf, tf, kP, tP...</a:t>
            </a: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5103860-C0DA-422D-BF2A-119C6C514E29}"/>
              </a:ext>
            </a:extLst>
          </p:cNvPr>
          <p:cNvCxnSpPr/>
          <p:nvPr/>
        </p:nvCxnSpPr>
        <p:spPr>
          <a:xfrm flipV="1">
            <a:off x="5202802" y="2501961"/>
            <a:ext cx="1008112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E61C360E-337C-4FB8-84FD-4B6EA3E9D895}"/>
              </a:ext>
            </a:extLst>
          </p:cNvPr>
          <p:cNvSpPr txBox="1"/>
          <p:nvPr/>
        </p:nvSpPr>
        <p:spPr>
          <a:xfrm>
            <a:off x="6247402" y="2244856"/>
            <a:ext cx="3160965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Create namespace for each device</a:t>
            </a:r>
          </a:p>
          <a:p>
            <a:r>
              <a:rPr lang="de-DE" sz="1400" dirty="0"/>
              <a:t>e.g. DS001, DS002, BT001, PV001</a:t>
            </a:r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B2E84C3C-D1BF-4472-9625-ADF6701073EA}"/>
              </a:ext>
            </a:extLst>
          </p:cNvPr>
          <p:cNvCxnSpPr>
            <a:cxnSpLocks/>
          </p:cNvCxnSpPr>
          <p:nvPr/>
        </p:nvCxnSpPr>
        <p:spPr>
          <a:xfrm>
            <a:off x="1847528" y="4365104"/>
            <a:ext cx="792088" cy="64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62A079DC-5286-458E-80F8-F0D97AAF34F4}"/>
              </a:ext>
            </a:extLst>
          </p:cNvPr>
          <p:cNvSpPr txBox="1"/>
          <p:nvPr/>
        </p:nvSpPr>
        <p:spPr>
          <a:xfrm>
            <a:off x="1223170" y="5081268"/>
            <a:ext cx="3288654" cy="30777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Start OPC server at port 4840 locally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E58F93C-9CF6-4B7E-B9F9-FA5445D1D3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4671" y="3408112"/>
            <a:ext cx="5605503" cy="2714645"/>
          </a:xfrm>
          <a:prstGeom prst="rect">
            <a:avLst/>
          </a:prstGeom>
        </p:spPr>
      </p:pic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CBEDCA9B-57DC-4794-9F48-FD641E949CE4}"/>
              </a:ext>
            </a:extLst>
          </p:cNvPr>
          <p:cNvCxnSpPr/>
          <p:nvPr/>
        </p:nvCxnSpPr>
        <p:spPr>
          <a:xfrm flipV="1">
            <a:off x="8760296" y="3260538"/>
            <a:ext cx="720080" cy="13205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>
            <a:extLst>
              <a:ext uri="{FF2B5EF4-FFF2-40B4-BE49-F238E27FC236}">
                <a16:creationId xmlns:a16="http://schemas.microsoft.com/office/drawing/2014/main" id="{A15EE8CA-A835-4D9D-89BE-D24A63855782}"/>
              </a:ext>
            </a:extLst>
          </p:cNvPr>
          <p:cNvSpPr txBox="1"/>
          <p:nvPr/>
        </p:nvSpPr>
        <p:spPr>
          <a:xfrm>
            <a:off x="9127052" y="2737318"/>
            <a:ext cx="2376263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Bind UDP server with port 8001 for listening</a:t>
            </a: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74605A20-3759-4C9B-B49A-70128B5DE273}"/>
              </a:ext>
            </a:extLst>
          </p:cNvPr>
          <p:cNvCxnSpPr/>
          <p:nvPr/>
        </p:nvCxnSpPr>
        <p:spPr>
          <a:xfrm flipH="1">
            <a:off x="5663952" y="5805264"/>
            <a:ext cx="792088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D055A8C4-C1C8-415D-A24B-B67450E06C4C}"/>
              </a:ext>
            </a:extLst>
          </p:cNvPr>
          <p:cNvSpPr txBox="1"/>
          <p:nvPr/>
        </p:nvSpPr>
        <p:spPr>
          <a:xfrm>
            <a:off x="3183094" y="5759678"/>
            <a:ext cx="2448272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400" dirty="0"/>
              <a:t>Send UDP packet to server with host IP &amp; port 8002</a:t>
            </a:r>
          </a:p>
        </p:txBody>
      </p:sp>
    </p:spTree>
    <p:extLst>
      <p:ext uri="{BB962C8B-B14F-4D97-AF65-F5344CB8AC3E}">
        <p14:creationId xmlns:p14="http://schemas.microsoft.com/office/powerpoint/2010/main" val="3655465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6cf9d91-ba68-474b-993b-0a7d84f71b6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9fa522-03b0-4070-afc2-7be073f3969d_ItemNo"/>
  <p:tag name="EE4P_AGENDAWIZARD_CONTENT" val="/1"/>
  <p:tag name="EE4P_AGENDAWIZARD_PROPERTIES" val="28.34646/127.5591/31.50472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9fa522-03b0-4070-afc2-7be073f3969d_ItemNo"/>
  <p:tag name="EE4P_AGENDAWIZARD_CONTENT" val="/1"/>
  <p:tag name="EE4P_AGENDAWIZARD_PROPERTIES" val="28.34646/127.5591/31.50472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d9fa522-03b0-4070-afc2-7be073f3969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f7d6a0e-bcc9-45c8-bb12-115ba6f7a54a_Topic"/>
  <p:tag name="EE4P_AGENDAWIZARD_CONTENT" val="/Further food for thought"/>
  <p:tag name="EE4P_AGENDAWIZARD_PROPERTIES" val="64.85118/200.5686/192.8652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5b53ca-c35c-49d8-b09e-af8192a5ce68_Topic"/>
  <p:tag name="EE4P_AGENDAWIZARD_CONTENT" val="/Course organization"/>
  <p:tag name="EE4P_AGENDAWIZARD_PROPERTIES" val="64.85118/164.0639/192.8652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9fa522-03b0-4070-afc2-7be073f3969d_Topic"/>
  <p:tag name="EE4P_AGENDAWIZARD_CONTENT" val="/Motivation"/>
  <p:tag name="EE4P_AGENDAWIZARD_PROPERTIES" val="64.85118/127.5591/192.8652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9fa522-03b0-4070-afc2-7be073f3969d_ItemNo"/>
  <p:tag name="EE4P_AGENDAWIZARD_CONTENT" val="/1"/>
  <p:tag name="EE4P_AGENDAWIZARD_PROPERTIES" val="28.34646/127.5591/31.50472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45b53ca-c35c-49d8-b09e-af8192a5ce68_Topic"/>
  <p:tag name="EE4P_AGENDAWIZARD_CONTENT" val="/Course organization"/>
  <p:tag name="EE4P_AGENDAWIZARD_PROPERTIES" val="64.85118/164.0639/192.8652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0d9fa522-03b0-4070-afc2-7be073f3969d_ItemNo"/>
  <p:tag name="EE4P_AGENDAWIZARD_CONTENT" val="/1"/>
  <p:tag name="EE4P_AGENDAWIZARD_PROPERTIES" val="28.34646/127.5591/31.50472/31.50472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4</Words>
  <Application>Microsoft Office PowerPoint</Application>
  <PresentationFormat>宽屏</PresentationFormat>
  <Paragraphs>99</Paragraphs>
  <Slides>1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Bitstream Charter</vt:lpstr>
      <vt:lpstr>Charter</vt:lpstr>
      <vt:lpstr>Stafford</vt:lpstr>
      <vt:lpstr>微软雅黑</vt:lpstr>
      <vt:lpstr>Arial</vt:lpstr>
      <vt:lpstr>Symbol</vt:lpstr>
      <vt:lpstr>Tahoma</vt:lpstr>
      <vt:lpstr>Wingdings</vt:lpstr>
      <vt:lpstr>Präsentationsvorlage_BWL9</vt:lpstr>
      <vt:lpstr>GUI for a Microgrid’s Control System</vt:lpstr>
      <vt:lpstr>Agenda</vt:lpstr>
      <vt:lpstr>Introduction - Motivation</vt:lpstr>
      <vt:lpstr>Introduction - Challenges</vt:lpstr>
      <vt:lpstr>Methodology - Main Topology</vt:lpstr>
      <vt:lpstr>Methodology – Transmission Protocol</vt:lpstr>
      <vt:lpstr>Implementation - RT-LAB Project</vt:lpstr>
      <vt:lpstr>Implementation - Matlab Simulink</vt:lpstr>
      <vt:lpstr>Implementation – Service Configuration</vt:lpstr>
      <vt:lpstr>Implementation – Service</vt:lpstr>
      <vt:lpstr>Implementation – Service</vt:lpstr>
      <vt:lpstr>Implementation - LabView Project</vt:lpstr>
      <vt:lpstr>Implementation - Main Control Panel</vt:lpstr>
      <vt:lpstr>Implementation - Main Control Panel</vt:lpstr>
      <vt:lpstr>Implementation - Sub Control Panel</vt:lpstr>
      <vt:lpstr>PowerPoint 演示文稿</vt:lpstr>
      <vt:lpstr>Outlook – to be better...</vt:lpstr>
      <vt:lpstr>Question about ..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tim.janke@eins.tu-darmstadt.de</dc:creator>
  <cp:lastModifiedBy>Shouran Mu</cp:lastModifiedBy>
  <cp:revision>955</cp:revision>
  <cp:lastPrinted>2015-03-31T13:31:38Z</cp:lastPrinted>
  <dcterms:created xsi:type="dcterms:W3CDTF">2009-12-23T09:42:49Z</dcterms:created>
  <dcterms:modified xsi:type="dcterms:W3CDTF">2019-05-16T06:23:05Z</dcterms:modified>
</cp:coreProperties>
</file>